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7"/>
    <p:restoredTop sz="94694"/>
  </p:normalViewPr>
  <p:slideViewPr>
    <p:cSldViewPr snapToGrid="0">
      <p:cViewPr varScale="1">
        <p:scale>
          <a:sx n="94" d="100"/>
          <a:sy n="94" d="100"/>
        </p:scale>
        <p:origin x="216" y="6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5" d="100"/>
        <a:sy n="13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4DD28-D001-5D44-DB1B-170B8F0CD5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675B850-3EED-F345-EAEB-843C65CBB9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1A5A18-0AA7-6899-D807-A2954451E2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A5C7-EF5A-1B4F-A53F-09F98E4690EA}" type="datetimeFigureOut">
              <a:rPr lang="en-US" smtClean="0"/>
              <a:t>3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92934D-3ADE-AFDB-CEE8-7710DFD65A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5965DB-CA6E-B69E-A320-A83D9287E6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8DD6E-55D0-414E-8313-D52518B4E8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5579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A5C44F-5DB6-E4EB-D3DD-C8BC445F4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2BE83D2-15A8-9149-89EA-B2DFDE3CA0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6EE44A-DBD9-AC45-50F1-7E16B28030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A5C7-EF5A-1B4F-A53F-09F98E4690EA}" type="datetimeFigureOut">
              <a:rPr lang="en-US" smtClean="0"/>
              <a:t>3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EC8501-6984-5C7A-0FD8-EE50B41D84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F47090-22FD-7941-44BA-760DEE0DEE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8DD6E-55D0-414E-8313-D52518B4E8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08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C1E6240-388B-F23F-F4B5-B7CDAEB0DF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7D64FDB-2A94-4581-2C3D-FDAB24601E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3EC5D7-4433-2AD7-4E50-CF3D4345C8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A5C7-EF5A-1B4F-A53F-09F98E4690EA}" type="datetimeFigureOut">
              <a:rPr lang="en-US" smtClean="0"/>
              <a:t>3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805E6C-DA6F-C96C-23B5-0D27D5C2B7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E080D4-715E-1CDD-AF4F-36A7B079E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8DD6E-55D0-414E-8313-D52518B4E8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7322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8DFA2F-6EC7-9366-0EFE-A618B5B6D3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7AD3AE-2A4B-881E-287D-DA346228DC0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321E00-3500-13F4-43D3-54AC1BBB37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A5C7-EF5A-1B4F-A53F-09F98E4690EA}" type="datetimeFigureOut">
              <a:rPr lang="en-US" smtClean="0"/>
              <a:t>3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16CCCD-3B4D-7CE5-A8A6-F091B2CE0A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992FC4-47E9-41C3-5B6E-01C0652A4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8DD6E-55D0-414E-8313-D52518B4E8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42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27F430-E5DD-8410-8CF7-27FBCF0DB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249D70-AAC5-6B17-1680-F23263516A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C5742C-0E52-2355-9C54-D6EA1B0814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A5C7-EF5A-1B4F-A53F-09F98E4690EA}" type="datetimeFigureOut">
              <a:rPr lang="en-US" smtClean="0"/>
              <a:t>3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572BE6-948B-7BF3-992C-AE4303FBDF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87EB4B-0802-EF59-1BBE-2F02E8ECD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8DD6E-55D0-414E-8313-D52518B4E8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3781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846DE8-5517-5F55-C943-5204731487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D18566-897E-7B2C-6AFC-6F806CE84E1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E4AC960-A601-B3F1-C25D-8E719379F4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4F9C0AF-7F8B-A38B-CAB2-D694B6B45E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A5C7-EF5A-1B4F-A53F-09F98E4690EA}" type="datetimeFigureOut">
              <a:rPr lang="en-US" smtClean="0"/>
              <a:t>3/20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E427B8A-FD89-F543-646F-B8D6BB1CC7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6CCFF2-E242-6E17-9936-087CDA51C0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8DD6E-55D0-414E-8313-D52518B4E8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4583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E89D7E-C4A2-08D8-A2F6-F761DB3A39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AE3C74-A29A-5B0A-0FEC-758628E6C3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FE6E5A-8B6A-F20E-110F-A8A347BE40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6B4B35-31E6-3E2A-CD5E-4075CACA1E4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393960E-D937-DAA8-C42B-6050983898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049333-38DB-161F-809C-4D9514A459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A5C7-EF5A-1B4F-A53F-09F98E4690EA}" type="datetimeFigureOut">
              <a:rPr lang="en-US" smtClean="0"/>
              <a:t>3/20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F8D6B7E-10CD-6601-EA6A-EB02649F16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298D81-E3A0-980D-B615-7E7EC2F5D7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8DD6E-55D0-414E-8313-D52518B4E8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6855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D4E396-446C-109D-1FD5-8449F47554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DB88C6E-7878-9511-113F-3760EB67B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A5C7-EF5A-1B4F-A53F-09F98E4690EA}" type="datetimeFigureOut">
              <a:rPr lang="en-US" smtClean="0"/>
              <a:t>3/20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B15ACC-4FC5-C351-C598-3215535A9A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54D353-5AD7-2449-256A-A9694BF2D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8DD6E-55D0-414E-8313-D52518B4E8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7904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F2BB66-E793-F13F-2613-23A1A25508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A5C7-EF5A-1B4F-A53F-09F98E4690EA}" type="datetimeFigureOut">
              <a:rPr lang="en-US" smtClean="0"/>
              <a:t>3/20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0304F2-B965-8D70-18F0-4C6BA3F711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005DAC-C488-BDC1-DC6F-9A733A091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8DD6E-55D0-414E-8313-D52518B4E8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5673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218385-DF8D-EAFE-BE84-F14A86474D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C87B8E-1C20-B8F0-4417-9A1AA54683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05FFBF-4E46-4E6F-E016-FC2D61D3684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941220-8836-6BF3-45CF-BC4A9903D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A5C7-EF5A-1B4F-A53F-09F98E4690EA}" type="datetimeFigureOut">
              <a:rPr lang="en-US" smtClean="0"/>
              <a:t>3/20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B901F3-567E-0A73-7B47-C72A1F3ED0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0732B4-5DDC-D818-2A6B-75FB38EA8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8DD6E-55D0-414E-8313-D52518B4E8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320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8C9EE1-A946-1A47-AC9C-B91219622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C7CEC6C-7538-4C08-BA22-64C9C6FEF55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0FFC2C-191A-BB52-FDE8-4DDB3067C4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AF13C1-2396-E73B-E150-594DF7B9E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A5C7-EF5A-1B4F-A53F-09F98E4690EA}" type="datetimeFigureOut">
              <a:rPr lang="en-US" smtClean="0"/>
              <a:t>3/20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20D43B-7FE9-95B9-656A-29B65AF74C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A598A1-FF7F-02B2-B072-1305D447C0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F8DD6E-55D0-414E-8313-D52518B4E8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58468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A286E5F4-B032-B6D5-EF88-06CE91E6BE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218880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CAF32B-7E3E-15BC-BE2C-0834FFF428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A544E6-464E-3BF4-4AE2-1DEBC49150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CF759F-7D49-E3F0-2FCE-9EB9C68B0A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79A5C7-EF5A-1B4F-A53F-09F98E4690EA}" type="datetimeFigureOut">
              <a:rPr lang="en-US" smtClean="0"/>
              <a:t>3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09F832-3DB7-C2BF-6A71-5F5CEE436C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5FE322-7F14-A71A-C0FC-7878AD768E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F8DD6E-55D0-414E-8313-D52518B4E8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794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5" Type="http://schemas.openxmlformats.org/officeDocument/2006/relationships/image" Target="../media/image21.jpeg"/><Relationship Id="rId4" Type="http://schemas.openxmlformats.org/officeDocument/2006/relationships/image" Target="../media/image2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7.jpeg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5" Type="http://schemas.openxmlformats.org/officeDocument/2006/relationships/image" Target="../media/image9.jpeg"/><Relationship Id="rId4" Type="http://schemas.openxmlformats.org/officeDocument/2006/relationships/image" Target="../media/image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11.jpeg"/><Relationship Id="rId4" Type="http://schemas.openxmlformats.org/officeDocument/2006/relationships/image" Target="../media/image10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13.jpeg"/><Relationship Id="rId4" Type="http://schemas.openxmlformats.org/officeDocument/2006/relationships/image" Target="../media/image1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15.jpeg"/><Relationship Id="rId4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5" Type="http://schemas.openxmlformats.org/officeDocument/2006/relationships/image" Target="../media/image17.jpeg"/><Relationship Id="rId4" Type="http://schemas.openxmlformats.org/officeDocument/2006/relationships/image" Target="../media/image16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19.jpeg"/><Relationship Id="rId4" Type="http://schemas.openxmlformats.org/officeDocument/2006/relationships/image" Target="../media/image1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CAC3371-44EF-B9DF-2B2C-FBE0FDCA3B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12966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C1DD1A8A-57D5-4A81-AD04-532B043C56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312D4D-640E-EECE-E1B6-2EFF635B7D3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000"/>
          <a:stretch/>
        </p:blipFill>
        <p:spPr>
          <a:xfrm>
            <a:off x="-3047" y="10"/>
            <a:ext cx="12191999" cy="685799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07891EC-4501-44ED-A8C8-B11B6DB767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207602"/>
            <a:ext cx="12191999" cy="3162146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0"/>
                </a:srgbClr>
              </a:gs>
              <a:gs pos="25000">
                <a:srgbClr val="000000">
                  <a:alpha val="15000"/>
                </a:srgbClr>
              </a:gs>
              <a:gs pos="75000">
                <a:srgbClr val="000000">
                  <a:alpha val="15000"/>
                </a:srgbClr>
              </a:gs>
              <a:gs pos="50000">
                <a:srgbClr val="000000">
                  <a:alpha val="30000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69A596-3FB5-D57C-CA04-EEB82A2369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7280" y="325550"/>
            <a:ext cx="10058400" cy="3574778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>
            <a:normAutofit/>
          </a:bodyPr>
          <a:lstStyle/>
          <a:p>
            <a:r>
              <a:rPr lang="en-US" sz="5200" dirty="0">
                <a:solidFill>
                  <a:srgbClr val="FFFFFF"/>
                </a:solidFill>
              </a:rPr>
              <a:t>Sports Drink and Hydration Beverage Market Analysi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BBB587-F561-7E56-85F4-4506FD0523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00051" y="4072043"/>
            <a:ext cx="10058400" cy="128270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/>
          <a:p>
            <a:r>
              <a:rPr lang="en-US" dirty="0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187491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6427C89-9BF1-2F91-9482-FF2164D4E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19823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9F27744B-47AB-4459-8C2F-1D5EE63A3E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White stairs with a blue arrow drawn in the middle pointing upwards">
            <a:extLst>
              <a:ext uri="{FF2B5EF4-FFF2-40B4-BE49-F238E27FC236}">
                <a16:creationId xmlns:a16="http://schemas.microsoft.com/office/drawing/2014/main" id="{0F4F0DE4-6592-78D9-CAE7-1975DC8080E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5" r="1" b="1"/>
          <a:stretch/>
        </p:blipFill>
        <p:spPr>
          <a:xfrm>
            <a:off x="1" y="10"/>
            <a:ext cx="6865165" cy="6857990"/>
          </a:xfrm>
          <a:custGeom>
            <a:avLst/>
            <a:gdLst/>
            <a:ahLst/>
            <a:cxnLst/>
            <a:rect l="l" t="t" r="r" b="b"/>
            <a:pathLst>
              <a:path w="6865165" h="6858000">
                <a:moveTo>
                  <a:pt x="0" y="0"/>
                </a:moveTo>
                <a:lnTo>
                  <a:pt x="6865165" y="0"/>
                </a:lnTo>
                <a:lnTo>
                  <a:pt x="6859621" y="22952"/>
                </a:lnTo>
                <a:cubicBezTo>
                  <a:pt x="6623056" y="1069835"/>
                  <a:pt x="6492240" y="2220824"/>
                  <a:pt x="6492240" y="3429001"/>
                </a:cubicBezTo>
                <a:cubicBezTo>
                  <a:pt x="6492240" y="4637179"/>
                  <a:pt x="6623056" y="5788167"/>
                  <a:pt x="6859621" y="6835050"/>
                </a:cubicBezTo>
                <a:lnTo>
                  <a:pt x="6865165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 useBgFill="1">
        <p:nvSpPr>
          <p:cNvPr id="11" name="Freeform: Shape 10">
            <a:extLst>
              <a:ext uri="{FF2B5EF4-FFF2-40B4-BE49-F238E27FC236}">
                <a16:creationId xmlns:a16="http://schemas.microsoft.com/office/drawing/2014/main" id="{7D266DCC-5218-4AE0-B964-6FC2EA3BDF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92240" y="0"/>
            <a:ext cx="5699760" cy="6858000"/>
          </a:xfrm>
          <a:custGeom>
            <a:avLst/>
            <a:gdLst>
              <a:gd name="connsiteX0" fmla="*/ 365648 w 5588548"/>
              <a:gd name="connsiteY0" fmla="*/ 0 h 6858000"/>
              <a:gd name="connsiteX1" fmla="*/ 5588548 w 5588548"/>
              <a:gd name="connsiteY1" fmla="*/ 0 h 6858000"/>
              <a:gd name="connsiteX2" fmla="*/ 5588548 w 5588548"/>
              <a:gd name="connsiteY2" fmla="*/ 6858000 h 6858000"/>
              <a:gd name="connsiteX3" fmla="*/ 365648 w 5588548"/>
              <a:gd name="connsiteY3" fmla="*/ 6858000 h 6858000"/>
              <a:gd name="connsiteX4" fmla="*/ 360213 w 5588548"/>
              <a:gd name="connsiteY4" fmla="*/ 6835050 h 6858000"/>
              <a:gd name="connsiteX5" fmla="*/ 0 w 5588548"/>
              <a:gd name="connsiteY5" fmla="*/ 3429001 h 6858000"/>
              <a:gd name="connsiteX6" fmla="*/ 360213 w 5588548"/>
              <a:gd name="connsiteY6" fmla="*/ 2295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88548" h="6858000">
                <a:moveTo>
                  <a:pt x="365648" y="0"/>
                </a:moveTo>
                <a:lnTo>
                  <a:pt x="5588548" y="0"/>
                </a:lnTo>
                <a:lnTo>
                  <a:pt x="5588548" y="6858000"/>
                </a:lnTo>
                <a:lnTo>
                  <a:pt x="365648" y="6858000"/>
                </a:lnTo>
                <a:lnTo>
                  <a:pt x="360213" y="6835050"/>
                </a:lnTo>
                <a:cubicBezTo>
                  <a:pt x="128263" y="5788167"/>
                  <a:pt x="0" y="4637179"/>
                  <a:pt x="0" y="3429001"/>
                </a:cubicBezTo>
                <a:cubicBezTo>
                  <a:pt x="0" y="2220824"/>
                  <a:pt x="128263" y="1069835"/>
                  <a:pt x="360213" y="22952"/>
                </a:cubicBez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50800" dist="38100" dir="10800000" algn="r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3" name="Freeform: Shape 12">
            <a:extLst>
              <a:ext uri="{FF2B5EF4-FFF2-40B4-BE49-F238E27FC236}">
                <a16:creationId xmlns:a16="http://schemas.microsoft.com/office/drawing/2014/main" id="{973DE4F1-1583-4AE3-9696-9659D27C5F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501384" y="0"/>
            <a:ext cx="5690616" cy="6858000"/>
          </a:xfrm>
          <a:custGeom>
            <a:avLst/>
            <a:gdLst>
              <a:gd name="connsiteX0" fmla="*/ 372925 w 5690616"/>
              <a:gd name="connsiteY0" fmla="*/ 0 h 6858000"/>
              <a:gd name="connsiteX1" fmla="*/ 5690616 w 5690616"/>
              <a:gd name="connsiteY1" fmla="*/ 0 h 6858000"/>
              <a:gd name="connsiteX2" fmla="*/ 5690616 w 5690616"/>
              <a:gd name="connsiteY2" fmla="*/ 6858000 h 6858000"/>
              <a:gd name="connsiteX3" fmla="*/ 372925 w 5690616"/>
              <a:gd name="connsiteY3" fmla="*/ 6858000 h 6858000"/>
              <a:gd name="connsiteX4" fmla="*/ 367381 w 5690616"/>
              <a:gd name="connsiteY4" fmla="*/ 6835050 h 6858000"/>
              <a:gd name="connsiteX5" fmla="*/ 0 w 5690616"/>
              <a:gd name="connsiteY5" fmla="*/ 3429001 h 6858000"/>
              <a:gd name="connsiteX6" fmla="*/ 367381 w 5690616"/>
              <a:gd name="connsiteY6" fmla="*/ 2295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90616" h="6858000">
                <a:moveTo>
                  <a:pt x="372925" y="0"/>
                </a:moveTo>
                <a:lnTo>
                  <a:pt x="5690616" y="0"/>
                </a:lnTo>
                <a:lnTo>
                  <a:pt x="5690616" y="6858000"/>
                </a:lnTo>
                <a:lnTo>
                  <a:pt x="372925" y="6858000"/>
                </a:lnTo>
                <a:lnTo>
                  <a:pt x="367381" y="6835050"/>
                </a:lnTo>
                <a:cubicBezTo>
                  <a:pt x="130816" y="5788167"/>
                  <a:pt x="0" y="4637179"/>
                  <a:pt x="0" y="3429001"/>
                </a:cubicBezTo>
                <a:cubicBezTo>
                  <a:pt x="0" y="2220824"/>
                  <a:pt x="130816" y="1069835"/>
                  <a:pt x="367381" y="22952"/>
                </a:cubicBez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35DFAB-70FF-07C7-86C7-678C71A530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55564" y="914400"/>
            <a:ext cx="4485861" cy="1106556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/>
            <a:r>
              <a:rPr lang="en-US" sz="3200"/>
              <a:t>Next Step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297641-8B9F-4767-9606-8A11313227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542239" y="387939"/>
            <a:ext cx="73152" cy="5486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D3C8959-A2A1-469E-8619-82F077E33F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304495" y="2182390"/>
            <a:ext cx="438912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5EFF2A-D425-7D50-8945-3F00FF3192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55563" y="2440100"/>
            <a:ext cx="4485861" cy="3834804"/>
          </a:xfrm>
        </p:spPr>
        <p:txBody>
          <a:bodyPr vert="horz" lIns="91440" tIns="45720" rIns="91440" bIns="45720" rtlCol="0">
            <a:noAutofit/>
          </a:bodyPr>
          <a:lstStyle/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Developing a comprehensive marketing strategy - Creating an integrated plan to promote products and drive sale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Focusing on product development and innovation - Continuously improving product offerings to meet changing consumer need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Strengthening distribution networks - Building relationships with retailers and other partners to expand market reach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Continuously monitoring market trends and consumer preferences - Adapting strategies and products based on evolving market dynamic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4013601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AC68EF5-579D-1ADE-E805-1F5D3DD995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44162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9B7AD9F6-8CE7-4299-8FC6-328F4DCD3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451205-F87A-7FEC-CA51-A2F9C7B23A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90414" y="640080"/>
            <a:ext cx="4758458" cy="3566160"/>
          </a:xfrm>
        </p:spPr>
        <p:txBody>
          <a:bodyPr vert="horz" anchor="b">
            <a:normAutofit/>
          </a:bodyPr>
          <a:lstStyle/>
          <a:p>
            <a:pPr algn="l"/>
            <a:r>
              <a:rPr lang="en-US" sz="6600"/>
              <a:t>Introduc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853187-E9DC-EF63-7803-E0A088E56F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90412" y="4636008"/>
            <a:ext cx="4758459" cy="1572768"/>
          </a:xfrm>
        </p:spPr>
        <p:txBody>
          <a:bodyPr>
            <a:noAutofit/>
          </a:bodyPr>
          <a:lstStyle/>
          <a:p>
            <a:pPr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Overview of the sports drink and hydration beverage market - A comprehensive analysis of the current market situation and future growth potential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Key trends and drivers - Factors influencing the industry's trajectory and consumer preference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Market segmentation - A closer look at the various segments and their respective market share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Competitive landscape - An overview of the major players in the market and their strategies.</a:t>
            </a:r>
          </a:p>
          <a:p>
            <a:pPr algn="l"/>
            <a:endParaRPr lang="en-US" sz="1200" dirty="0"/>
          </a:p>
        </p:txBody>
      </p:sp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4EE778E3-0272-B2CF-B3D5-AFE8478CFEC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33201"/>
          <a:stretch/>
        </p:blipFill>
        <p:spPr>
          <a:xfrm>
            <a:off x="20" y="10"/>
            <a:ext cx="6108141" cy="6857990"/>
          </a:xfrm>
          <a:custGeom>
            <a:avLst/>
            <a:gdLst/>
            <a:ahLst/>
            <a:cxnLst/>
            <a:rect l="l" t="t" r="r" b="b"/>
            <a:pathLst>
              <a:path w="6108161" h="6858000">
                <a:moveTo>
                  <a:pt x="0" y="0"/>
                </a:moveTo>
                <a:lnTo>
                  <a:pt x="2058355" y="0"/>
                </a:lnTo>
                <a:lnTo>
                  <a:pt x="3299791" y="0"/>
                </a:lnTo>
                <a:lnTo>
                  <a:pt x="6076880" y="0"/>
                </a:lnTo>
                <a:lnTo>
                  <a:pt x="6078171" y="10931"/>
                </a:lnTo>
                <a:cubicBezTo>
                  <a:pt x="6093300" y="94836"/>
                  <a:pt x="6090630" y="179884"/>
                  <a:pt x="6094698" y="264297"/>
                </a:cubicBezTo>
                <a:cubicBezTo>
                  <a:pt x="6099656" y="367652"/>
                  <a:pt x="6093427" y="471135"/>
                  <a:pt x="6091266" y="574617"/>
                </a:cubicBezTo>
                <a:cubicBezTo>
                  <a:pt x="6089359" y="662717"/>
                  <a:pt x="6080587" y="750690"/>
                  <a:pt x="6083384" y="838916"/>
                </a:cubicBezTo>
                <a:cubicBezTo>
                  <a:pt x="6083384" y="841968"/>
                  <a:pt x="6083384" y="845019"/>
                  <a:pt x="6083384" y="848070"/>
                </a:cubicBezTo>
                <a:cubicBezTo>
                  <a:pt x="6075375" y="945068"/>
                  <a:pt x="6075375" y="1042576"/>
                  <a:pt x="6083384" y="1139574"/>
                </a:cubicBezTo>
                <a:cubicBezTo>
                  <a:pt x="6085964" y="1179950"/>
                  <a:pt x="6085240" y="1220466"/>
                  <a:pt x="6081223" y="1260728"/>
                </a:cubicBezTo>
                <a:cubicBezTo>
                  <a:pt x="6077409" y="1311960"/>
                  <a:pt x="6065204" y="1364083"/>
                  <a:pt x="6073976" y="1414934"/>
                </a:cubicBezTo>
                <a:cubicBezTo>
                  <a:pt x="6079722" y="1456784"/>
                  <a:pt x="6082913" y="1498940"/>
                  <a:pt x="6083511" y="1541172"/>
                </a:cubicBezTo>
                <a:cubicBezTo>
                  <a:pt x="6087833" y="1635755"/>
                  <a:pt x="6083638" y="1730847"/>
                  <a:pt x="6082112" y="1825685"/>
                </a:cubicBezTo>
                <a:cubicBezTo>
                  <a:pt x="6080205" y="1936286"/>
                  <a:pt x="6083002" y="2046634"/>
                  <a:pt x="6074103" y="2157235"/>
                </a:cubicBezTo>
                <a:cubicBezTo>
                  <a:pt x="6069145" y="2246581"/>
                  <a:pt x="6069145" y="2336130"/>
                  <a:pt x="6074103" y="2425476"/>
                </a:cubicBezTo>
                <a:cubicBezTo>
                  <a:pt x="6076519" y="2507473"/>
                  <a:pt x="6088850" y="2588454"/>
                  <a:pt x="6086816" y="2671214"/>
                </a:cubicBezTo>
                <a:cubicBezTo>
                  <a:pt x="6084401" y="2767832"/>
                  <a:pt x="6072959" y="2863940"/>
                  <a:pt x="6076519" y="2960685"/>
                </a:cubicBezTo>
                <a:cubicBezTo>
                  <a:pt x="6078171" y="3006832"/>
                  <a:pt x="6078299" y="3052980"/>
                  <a:pt x="6079316" y="3099127"/>
                </a:cubicBezTo>
                <a:cubicBezTo>
                  <a:pt x="6080333" y="3154682"/>
                  <a:pt x="6090376" y="3210110"/>
                  <a:pt x="6084782" y="3265665"/>
                </a:cubicBezTo>
                <a:cubicBezTo>
                  <a:pt x="6075502" y="3358087"/>
                  <a:pt x="6051475" y="3448857"/>
                  <a:pt x="6066476" y="3543567"/>
                </a:cubicBezTo>
                <a:cubicBezTo>
                  <a:pt x="6074739" y="3595690"/>
                  <a:pt x="6084146" y="3647940"/>
                  <a:pt x="6088850" y="3700571"/>
                </a:cubicBezTo>
                <a:cubicBezTo>
                  <a:pt x="6093045" y="3747608"/>
                  <a:pt x="6103724" y="3795408"/>
                  <a:pt x="6095588" y="3842191"/>
                </a:cubicBezTo>
                <a:cubicBezTo>
                  <a:pt x="6088723" y="3882237"/>
                  <a:pt x="6092410" y="3922282"/>
                  <a:pt x="6087070" y="3962327"/>
                </a:cubicBezTo>
                <a:cubicBezTo>
                  <a:pt x="6080078" y="4014831"/>
                  <a:pt x="6076265" y="4068352"/>
                  <a:pt x="6071052" y="4121111"/>
                </a:cubicBezTo>
                <a:cubicBezTo>
                  <a:pt x="6066221" y="4169038"/>
                  <a:pt x="6062662" y="4216838"/>
                  <a:pt x="6075375" y="4261841"/>
                </a:cubicBezTo>
                <a:cubicBezTo>
                  <a:pt x="6106394" y="4375112"/>
                  <a:pt x="6089359" y="4487748"/>
                  <a:pt x="6077663" y="4600257"/>
                </a:cubicBezTo>
                <a:cubicBezTo>
                  <a:pt x="6071942" y="4655049"/>
                  <a:pt x="6063552" y="4712765"/>
                  <a:pt x="6076265" y="4762853"/>
                </a:cubicBezTo>
                <a:cubicBezTo>
                  <a:pt x="6099783" y="4851716"/>
                  <a:pt x="6081350" y="4936764"/>
                  <a:pt x="6071179" y="5021432"/>
                </a:cubicBezTo>
                <a:cubicBezTo>
                  <a:pt x="6061009" y="5106099"/>
                  <a:pt x="6058594" y="5189495"/>
                  <a:pt x="6076392" y="5272637"/>
                </a:cubicBezTo>
                <a:cubicBezTo>
                  <a:pt x="6088850" y="5331116"/>
                  <a:pt x="6088850" y="5390612"/>
                  <a:pt x="6090376" y="5449600"/>
                </a:cubicBezTo>
                <a:cubicBezTo>
                  <a:pt x="6091266" y="5486339"/>
                  <a:pt x="6077663" y="5523842"/>
                  <a:pt x="6068637" y="5560582"/>
                </a:cubicBezTo>
                <a:cubicBezTo>
                  <a:pt x="6052364" y="5626943"/>
                  <a:pt x="6046517" y="5694321"/>
                  <a:pt x="6068637" y="5759029"/>
                </a:cubicBezTo>
                <a:cubicBezTo>
                  <a:pt x="6099148" y="5848655"/>
                  <a:pt x="6116691" y="5938407"/>
                  <a:pt x="6103978" y="6033117"/>
                </a:cubicBezTo>
                <a:cubicBezTo>
                  <a:pt x="6096732" y="6091724"/>
                  <a:pt x="6094952" y="6151347"/>
                  <a:pt x="6084019" y="6209190"/>
                </a:cubicBezTo>
                <a:cubicBezTo>
                  <a:pt x="6065713" y="6304790"/>
                  <a:pt x="6072196" y="6399882"/>
                  <a:pt x="6086816" y="6494211"/>
                </a:cubicBezTo>
                <a:cubicBezTo>
                  <a:pt x="6096897" y="6573081"/>
                  <a:pt x="6097965" y="6652829"/>
                  <a:pt x="6089994" y="6731941"/>
                </a:cubicBezTo>
                <a:lnTo>
                  <a:pt x="6081268" y="6858000"/>
                </a:lnTo>
                <a:lnTo>
                  <a:pt x="3299791" y="6858000"/>
                </a:lnTo>
                <a:lnTo>
                  <a:pt x="2058355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7" name="sketchy line">
            <a:extLst>
              <a:ext uri="{FF2B5EF4-FFF2-40B4-BE49-F238E27FC236}">
                <a16:creationId xmlns:a16="http://schemas.microsoft.com/office/drawing/2014/main" id="{82580482-BA80-420A-8A05-C58E97F26B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801142" y="4409267"/>
            <a:ext cx="4242816" cy="18288"/>
          </a:xfrm>
          <a:custGeom>
            <a:avLst/>
            <a:gdLst>
              <a:gd name="connsiteX0" fmla="*/ 0 w 4242816"/>
              <a:gd name="connsiteY0" fmla="*/ 0 h 18288"/>
              <a:gd name="connsiteX1" fmla="*/ 690973 w 4242816"/>
              <a:gd name="connsiteY1" fmla="*/ 0 h 18288"/>
              <a:gd name="connsiteX2" fmla="*/ 1212233 w 4242816"/>
              <a:gd name="connsiteY2" fmla="*/ 0 h 18288"/>
              <a:gd name="connsiteX3" fmla="*/ 1860778 w 4242816"/>
              <a:gd name="connsiteY3" fmla="*/ 0 h 18288"/>
              <a:gd name="connsiteX4" fmla="*/ 2424466 w 4242816"/>
              <a:gd name="connsiteY4" fmla="*/ 0 h 18288"/>
              <a:gd name="connsiteX5" fmla="*/ 3115439 w 4242816"/>
              <a:gd name="connsiteY5" fmla="*/ 0 h 18288"/>
              <a:gd name="connsiteX6" fmla="*/ 3636699 w 4242816"/>
              <a:gd name="connsiteY6" fmla="*/ 0 h 18288"/>
              <a:gd name="connsiteX7" fmla="*/ 4242816 w 4242816"/>
              <a:gd name="connsiteY7" fmla="*/ 0 h 18288"/>
              <a:gd name="connsiteX8" fmla="*/ 4242816 w 4242816"/>
              <a:gd name="connsiteY8" fmla="*/ 18288 h 18288"/>
              <a:gd name="connsiteX9" fmla="*/ 3636699 w 4242816"/>
              <a:gd name="connsiteY9" fmla="*/ 18288 h 18288"/>
              <a:gd name="connsiteX10" fmla="*/ 3030583 w 4242816"/>
              <a:gd name="connsiteY10" fmla="*/ 18288 h 18288"/>
              <a:gd name="connsiteX11" fmla="*/ 2466894 w 4242816"/>
              <a:gd name="connsiteY11" fmla="*/ 18288 h 18288"/>
              <a:gd name="connsiteX12" fmla="*/ 1988062 w 4242816"/>
              <a:gd name="connsiteY12" fmla="*/ 18288 h 18288"/>
              <a:gd name="connsiteX13" fmla="*/ 1466802 w 4242816"/>
              <a:gd name="connsiteY13" fmla="*/ 18288 h 18288"/>
              <a:gd name="connsiteX14" fmla="*/ 860686 w 4242816"/>
              <a:gd name="connsiteY14" fmla="*/ 18288 h 18288"/>
              <a:gd name="connsiteX15" fmla="*/ 0 w 4242816"/>
              <a:gd name="connsiteY15" fmla="*/ 18288 h 18288"/>
              <a:gd name="connsiteX16" fmla="*/ 0 w 4242816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2816" h="18288" fill="none" extrusionOk="0">
                <a:moveTo>
                  <a:pt x="0" y="0"/>
                </a:moveTo>
                <a:cubicBezTo>
                  <a:pt x="249934" y="1471"/>
                  <a:pt x="379877" y="-29444"/>
                  <a:pt x="690973" y="0"/>
                </a:cubicBezTo>
                <a:cubicBezTo>
                  <a:pt x="1002069" y="29444"/>
                  <a:pt x="1021583" y="17501"/>
                  <a:pt x="1212233" y="0"/>
                </a:cubicBezTo>
                <a:cubicBezTo>
                  <a:pt x="1402883" y="-17501"/>
                  <a:pt x="1678760" y="5386"/>
                  <a:pt x="1860778" y="0"/>
                </a:cubicBezTo>
                <a:cubicBezTo>
                  <a:pt x="2042796" y="-5386"/>
                  <a:pt x="2245608" y="-22401"/>
                  <a:pt x="2424466" y="0"/>
                </a:cubicBezTo>
                <a:cubicBezTo>
                  <a:pt x="2603324" y="22401"/>
                  <a:pt x="2890020" y="33806"/>
                  <a:pt x="3115439" y="0"/>
                </a:cubicBezTo>
                <a:cubicBezTo>
                  <a:pt x="3340858" y="-33806"/>
                  <a:pt x="3428300" y="18628"/>
                  <a:pt x="3636699" y="0"/>
                </a:cubicBezTo>
                <a:cubicBezTo>
                  <a:pt x="3845098" y="-18628"/>
                  <a:pt x="4108824" y="5541"/>
                  <a:pt x="4242816" y="0"/>
                </a:cubicBezTo>
                <a:cubicBezTo>
                  <a:pt x="4242066" y="4160"/>
                  <a:pt x="4243125" y="10356"/>
                  <a:pt x="4242816" y="18288"/>
                </a:cubicBezTo>
                <a:cubicBezTo>
                  <a:pt x="4113424" y="32735"/>
                  <a:pt x="3768327" y="47567"/>
                  <a:pt x="3636699" y="18288"/>
                </a:cubicBezTo>
                <a:cubicBezTo>
                  <a:pt x="3505071" y="-10991"/>
                  <a:pt x="3294208" y="-4990"/>
                  <a:pt x="3030583" y="18288"/>
                </a:cubicBezTo>
                <a:cubicBezTo>
                  <a:pt x="2766958" y="41566"/>
                  <a:pt x="2649277" y="20974"/>
                  <a:pt x="2466894" y="18288"/>
                </a:cubicBezTo>
                <a:cubicBezTo>
                  <a:pt x="2284511" y="15602"/>
                  <a:pt x="2151277" y="1154"/>
                  <a:pt x="1988062" y="18288"/>
                </a:cubicBezTo>
                <a:cubicBezTo>
                  <a:pt x="1824847" y="35422"/>
                  <a:pt x="1691359" y="9265"/>
                  <a:pt x="1466802" y="18288"/>
                </a:cubicBezTo>
                <a:cubicBezTo>
                  <a:pt x="1242245" y="27311"/>
                  <a:pt x="1006161" y="36605"/>
                  <a:pt x="860686" y="18288"/>
                </a:cubicBezTo>
                <a:cubicBezTo>
                  <a:pt x="715211" y="-29"/>
                  <a:pt x="242774" y="46538"/>
                  <a:pt x="0" y="18288"/>
                </a:cubicBezTo>
                <a:cubicBezTo>
                  <a:pt x="-146" y="11482"/>
                  <a:pt x="-422" y="5192"/>
                  <a:pt x="0" y="0"/>
                </a:cubicBezTo>
                <a:close/>
              </a:path>
              <a:path w="4242816" h="18288" stroke="0" extrusionOk="0">
                <a:moveTo>
                  <a:pt x="0" y="0"/>
                </a:moveTo>
                <a:cubicBezTo>
                  <a:pt x="259751" y="-14018"/>
                  <a:pt x="356632" y="-15007"/>
                  <a:pt x="521260" y="0"/>
                </a:cubicBezTo>
                <a:cubicBezTo>
                  <a:pt x="685888" y="15007"/>
                  <a:pt x="885786" y="5167"/>
                  <a:pt x="1212233" y="0"/>
                </a:cubicBezTo>
                <a:cubicBezTo>
                  <a:pt x="1538680" y="-5167"/>
                  <a:pt x="1458849" y="7951"/>
                  <a:pt x="1691065" y="0"/>
                </a:cubicBezTo>
                <a:cubicBezTo>
                  <a:pt x="1923281" y="-7951"/>
                  <a:pt x="1985780" y="-16303"/>
                  <a:pt x="2169897" y="0"/>
                </a:cubicBezTo>
                <a:cubicBezTo>
                  <a:pt x="2354014" y="16303"/>
                  <a:pt x="2633054" y="-2739"/>
                  <a:pt x="2776014" y="0"/>
                </a:cubicBezTo>
                <a:cubicBezTo>
                  <a:pt x="2918974" y="2739"/>
                  <a:pt x="3112688" y="-15682"/>
                  <a:pt x="3339702" y="0"/>
                </a:cubicBezTo>
                <a:cubicBezTo>
                  <a:pt x="3566716" y="15682"/>
                  <a:pt x="4015278" y="-28467"/>
                  <a:pt x="4242816" y="0"/>
                </a:cubicBezTo>
                <a:cubicBezTo>
                  <a:pt x="4243501" y="7633"/>
                  <a:pt x="4242294" y="10002"/>
                  <a:pt x="4242816" y="18288"/>
                </a:cubicBezTo>
                <a:cubicBezTo>
                  <a:pt x="3924964" y="16283"/>
                  <a:pt x="3746362" y="-1805"/>
                  <a:pt x="3551843" y="18288"/>
                </a:cubicBezTo>
                <a:cubicBezTo>
                  <a:pt x="3357324" y="38381"/>
                  <a:pt x="3126422" y="47156"/>
                  <a:pt x="2860870" y="18288"/>
                </a:cubicBezTo>
                <a:cubicBezTo>
                  <a:pt x="2595318" y="-10580"/>
                  <a:pt x="2572437" y="11441"/>
                  <a:pt x="2297182" y="18288"/>
                </a:cubicBezTo>
                <a:cubicBezTo>
                  <a:pt x="2021927" y="25135"/>
                  <a:pt x="1916908" y="33601"/>
                  <a:pt x="1733493" y="18288"/>
                </a:cubicBezTo>
                <a:cubicBezTo>
                  <a:pt x="1550078" y="2975"/>
                  <a:pt x="1412440" y="27896"/>
                  <a:pt x="1212233" y="18288"/>
                </a:cubicBezTo>
                <a:cubicBezTo>
                  <a:pt x="1012026" y="8680"/>
                  <a:pt x="914386" y="13859"/>
                  <a:pt x="648545" y="18288"/>
                </a:cubicBezTo>
                <a:cubicBezTo>
                  <a:pt x="382704" y="22717"/>
                  <a:pt x="233522" y="39342"/>
                  <a:pt x="0" y="18288"/>
                </a:cubicBezTo>
                <a:cubicBezTo>
                  <a:pt x="-772" y="13661"/>
                  <a:pt x="-839" y="849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5671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1BCC986-282B-1E62-03B3-5FCFDCCBB1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533695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9B7AD9F6-8CE7-4299-8FC6-328F4DCD3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03E407-916A-414E-C27E-6377C294C7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54296" y="640080"/>
            <a:ext cx="6894576" cy="3566160"/>
          </a:xfrm>
        </p:spPr>
        <p:txBody>
          <a:bodyPr vert="horz" anchor="b">
            <a:normAutofit/>
          </a:bodyPr>
          <a:lstStyle/>
          <a:p>
            <a:pPr algn="l"/>
            <a:r>
              <a:rPr lang="en-US" sz="6600"/>
              <a:t>Market Size and Growth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2D66562-F259-44B7-3BC8-5B83BA086AB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54296" y="4636008"/>
            <a:ext cx="6894576" cy="1572768"/>
          </a:xfrm>
        </p:spPr>
        <p:txBody>
          <a:bodyPr vert="horz" lIns="91440" tIns="45720" rIns="91440" bIns="45720" rtlCol="0">
            <a:noAutofit/>
          </a:bodyPr>
          <a:lstStyle/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Global and regional market size - Examining the current market size and comparing it across different region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CAGR and growth projections - Analyzing historical data to predict future growth rates and trend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Factors contributing to growth - Identifying the driving forces behind the market expansion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Challenges and barriers - Understanding the obstacles that could hinder market growth and development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195B84E-0665-8090-2C79-CF33A051B24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9666" r="20916" b="-1"/>
          <a:stretch/>
        </p:blipFill>
        <p:spPr>
          <a:xfrm>
            <a:off x="20" y="10"/>
            <a:ext cx="4049786" cy="6857990"/>
          </a:xfrm>
          <a:custGeom>
            <a:avLst/>
            <a:gdLst/>
            <a:ahLst/>
            <a:cxnLst/>
            <a:rect l="l" t="t" r="r" b="b"/>
            <a:pathLst>
              <a:path w="4049806" h="6858000">
                <a:moveTo>
                  <a:pt x="0" y="0"/>
                </a:moveTo>
                <a:lnTo>
                  <a:pt x="4018525" y="0"/>
                </a:lnTo>
                <a:lnTo>
                  <a:pt x="4019816" y="10931"/>
                </a:lnTo>
                <a:cubicBezTo>
                  <a:pt x="4034945" y="94836"/>
                  <a:pt x="4032275" y="179884"/>
                  <a:pt x="4036343" y="264297"/>
                </a:cubicBezTo>
                <a:cubicBezTo>
                  <a:pt x="4041301" y="367652"/>
                  <a:pt x="4035072" y="471135"/>
                  <a:pt x="4032911" y="574617"/>
                </a:cubicBezTo>
                <a:cubicBezTo>
                  <a:pt x="4031004" y="662717"/>
                  <a:pt x="4022232" y="750690"/>
                  <a:pt x="4025029" y="838916"/>
                </a:cubicBezTo>
                <a:cubicBezTo>
                  <a:pt x="4025029" y="841968"/>
                  <a:pt x="4025029" y="845019"/>
                  <a:pt x="4025029" y="848070"/>
                </a:cubicBezTo>
                <a:cubicBezTo>
                  <a:pt x="4017020" y="945068"/>
                  <a:pt x="4017020" y="1042576"/>
                  <a:pt x="4025029" y="1139574"/>
                </a:cubicBezTo>
                <a:cubicBezTo>
                  <a:pt x="4027609" y="1179950"/>
                  <a:pt x="4026885" y="1220466"/>
                  <a:pt x="4022868" y="1260728"/>
                </a:cubicBezTo>
                <a:cubicBezTo>
                  <a:pt x="4019054" y="1311960"/>
                  <a:pt x="4006849" y="1364083"/>
                  <a:pt x="4015621" y="1414934"/>
                </a:cubicBezTo>
                <a:cubicBezTo>
                  <a:pt x="4021367" y="1456784"/>
                  <a:pt x="4024558" y="1498940"/>
                  <a:pt x="4025156" y="1541172"/>
                </a:cubicBezTo>
                <a:cubicBezTo>
                  <a:pt x="4029478" y="1635755"/>
                  <a:pt x="4025283" y="1730847"/>
                  <a:pt x="4023757" y="1825685"/>
                </a:cubicBezTo>
                <a:cubicBezTo>
                  <a:pt x="4021850" y="1936286"/>
                  <a:pt x="4024647" y="2046634"/>
                  <a:pt x="4015748" y="2157235"/>
                </a:cubicBezTo>
                <a:cubicBezTo>
                  <a:pt x="4010790" y="2246581"/>
                  <a:pt x="4010790" y="2336130"/>
                  <a:pt x="4015748" y="2425476"/>
                </a:cubicBezTo>
                <a:cubicBezTo>
                  <a:pt x="4018164" y="2507473"/>
                  <a:pt x="4030495" y="2588454"/>
                  <a:pt x="4028461" y="2671214"/>
                </a:cubicBezTo>
                <a:cubicBezTo>
                  <a:pt x="4026046" y="2767832"/>
                  <a:pt x="4014604" y="2863940"/>
                  <a:pt x="4018164" y="2960685"/>
                </a:cubicBezTo>
                <a:cubicBezTo>
                  <a:pt x="4019816" y="3006832"/>
                  <a:pt x="4019944" y="3052980"/>
                  <a:pt x="4020961" y="3099127"/>
                </a:cubicBezTo>
                <a:cubicBezTo>
                  <a:pt x="4021978" y="3154682"/>
                  <a:pt x="4032021" y="3210110"/>
                  <a:pt x="4026427" y="3265665"/>
                </a:cubicBezTo>
                <a:cubicBezTo>
                  <a:pt x="4017147" y="3358087"/>
                  <a:pt x="3993120" y="3448857"/>
                  <a:pt x="4008121" y="3543567"/>
                </a:cubicBezTo>
                <a:cubicBezTo>
                  <a:pt x="4016384" y="3595690"/>
                  <a:pt x="4025791" y="3647940"/>
                  <a:pt x="4030495" y="3700571"/>
                </a:cubicBezTo>
                <a:cubicBezTo>
                  <a:pt x="4034690" y="3747608"/>
                  <a:pt x="4045369" y="3795408"/>
                  <a:pt x="4037233" y="3842191"/>
                </a:cubicBezTo>
                <a:cubicBezTo>
                  <a:pt x="4030368" y="3882237"/>
                  <a:pt x="4034055" y="3922282"/>
                  <a:pt x="4028715" y="3962327"/>
                </a:cubicBezTo>
                <a:cubicBezTo>
                  <a:pt x="4021723" y="4014831"/>
                  <a:pt x="4017910" y="4068352"/>
                  <a:pt x="4012697" y="4121111"/>
                </a:cubicBezTo>
                <a:cubicBezTo>
                  <a:pt x="4007866" y="4169038"/>
                  <a:pt x="4004307" y="4216838"/>
                  <a:pt x="4017020" y="4261841"/>
                </a:cubicBezTo>
                <a:cubicBezTo>
                  <a:pt x="4048039" y="4375112"/>
                  <a:pt x="4031004" y="4487748"/>
                  <a:pt x="4019308" y="4600257"/>
                </a:cubicBezTo>
                <a:cubicBezTo>
                  <a:pt x="4013587" y="4655049"/>
                  <a:pt x="4005197" y="4712765"/>
                  <a:pt x="4017910" y="4762853"/>
                </a:cubicBezTo>
                <a:cubicBezTo>
                  <a:pt x="4041428" y="4851716"/>
                  <a:pt x="4022995" y="4936764"/>
                  <a:pt x="4012824" y="5021432"/>
                </a:cubicBezTo>
                <a:cubicBezTo>
                  <a:pt x="4002654" y="5106099"/>
                  <a:pt x="4000239" y="5189495"/>
                  <a:pt x="4018037" y="5272637"/>
                </a:cubicBezTo>
                <a:cubicBezTo>
                  <a:pt x="4030495" y="5331116"/>
                  <a:pt x="4030495" y="5390612"/>
                  <a:pt x="4032021" y="5449600"/>
                </a:cubicBezTo>
                <a:cubicBezTo>
                  <a:pt x="4032911" y="5486339"/>
                  <a:pt x="4019308" y="5523842"/>
                  <a:pt x="4010282" y="5560582"/>
                </a:cubicBezTo>
                <a:cubicBezTo>
                  <a:pt x="3994009" y="5626943"/>
                  <a:pt x="3988162" y="5694321"/>
                  <a:pt x="4010282" y="5759029"/>
                </a:cubicBezTo>
                <a:cubicBezTo>
                  <a:pt x="4040793" y="5848655"/>
                  <a:pt x="4058336" y="5938407"/>
                  <a:pt x="4045623" y="6033117"/>
                </a:cubicBezTo>
                <a:cubicBezTo>
                  <a:pt x="4038377" y="6091724"/>
                  <a:pt x="4036597" y="6151347"/>
                  <a:pt x="4025664" y="6209190"/>
                </a:cubicBezTo>
                <a:cubicBezTo>
                  <a:pt x="4007358" y="6304790"/>
                  <a:pt x="4013841" y="6399882"/>
                  <a:pt x="4028461" y="6494211"/>
                </a:cubicBezTo>
                <a:cubicBezTo>
                  <a:pt x="4038542" y="6573081"/>
                  <a:pt x="4039610" y="6652829"/>
                  <a:pt x="4031639" y="6731941"/>
                </a:cubicBezTo>
                <a:lnTo>
                  <a:pt x="402291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sketchy line">
            <a:extLst>
              <a:ext uri="{FF2B5EF4-FFF2-40B4-BE49-F238E27FC236}">
                <a16:creationId xmlns:a16="http://schemas.microsoft.com/office/drawing/2014/main" id="{82580482-BA80-420A-8A05-C58E97F26B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296" y="4409267"/>
            <a:ext cx="4242816" cy="18288"/>
          </a:xfrm>
          <a:custGeom>
            <a:avLst/>
            <a:gdLst>
              <a:gd name="connsiteX0" fmla="*/ 0 w 4242816"/>
              <a:gd name="connsiteY0" fmla="*/ 0 h 18288"/>
              <a:gd name="connsiteX1" fmla="*/ 690973 w 4242816"/>
              <a:gd name="connsiteY1" fmla="*/ 0 h 18288"/>
              <a:gd name="connsiteX2" fmla="*/ 1212233 w 4242816"/>
              <a:gd name="connsiteY2" fmla="*/ 0 h 18288"/>
              <a:gd name="connsiteX3" fmla="*/ 1860778 w 4242816"/>
              <a:gd name="connsiteY3" fmla="*/ 0 h 18288"/>
              <a:gd name="connsiteX4" fmla="*/ 2424466 w 4242816"/>
              <a:gd name="connsiteY4" fmla="*/ 0 h 18288"/>
              <a:gd name="connsiteX5" fmla="*/ 3115439 w 4242816"/>
              <a:gd name="connsiteY5" fmla="*/ 0 h 18288"/>
              <a:gd name="connsiteX6" fmla="*/ 3636699 w 4242816"/>
              <a:gd name="connsiteY6" fmla="*/ 0 h 18288"/>
              <a:gd name="connsiteX7" fmla="*/ 4242816 w 4242816"/>
              <a:gd name="connsiteY7" fmla="*/ 0 h 18288"/>
              <a:gd name="connsiteX8" fmla="*/ 4242816 w 4242816"/>
              <a:gd name="connsiteY8" fmla="*/ 18288 h 18288"/>
              <a:gd name="connsiteX9" fmla="*/ 3636699 w 4242816"/>
              <a:gd name="connsiteY9" fmla="*/ 18288 h 18288"/>
              <a:gd name="connsiteX10" fmla="*/ 3030583 w 4242816"/>
              <a:gd name="connsiteY10" fmla="*/ 18288 h 18288"/>
              <a:gd name="connsiteX11" fmla="*/ 2466894 w 4242816"/>
              <a:gd name="connsiteY11" fmla="*/ 18288 h 18288"/>
              <a:gd name="connsiteX12" fmla="*/ 1988062 w 4242816"/>
              <a:gd name="connsiteY12" fmla="*/ 18288 h 18288"/>
              <a:gd name="connsiteX13" fmla="*/ 1466802 w 4242816"/>
              <a:gd name="connsiteY13" fmla="*/ 18288 h 18288"/>
              <a:gd name="connsiteX14" fmla="*/ 860686 w 4242816"/>
              <a:gd name="connsiteY14" fmla="*/ 18288 h 18288"/>
              <a:gd name="connsiteX15" fmla="*/ 0 w 4242816"/>
              <a:gd name="connsiteY15" fmla="*/ 18288 h 18288"/>
              <a:gd name="connsiteX16" fmla="*/ 0 w 4242816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2816" h="18288" fill="none" extrusionOk="0">
                <a:moveTo>
                  <a:pt x="0" y="0"/>
                </a:moveTo>
                <a:cubicBezTo>
                  <a:pt x="249934" y="1471"/>
                  <a:pt x="379877" y="-29444"/>
                  <a:pt x="690973" y="0"/>
                </a:cubicBezTo>
                <a:cubicBezTo>
                  <a:pt x="1002069" y="29444"/>
                  <a:pt x="1021583" y="17501"/>
                  <a:pt x="1212233" y="0"/>
                </a:cubicBezTo>
                <a:cubicBezTo>
                  <a:pt x="1402883" y="-17501"/>
                  <a:pt x="1678760" y="5386"/>
                  <a:pt x="1860778" y="0"/>
                </a:cubicBezTo>
                <a:cubicBezTo>
                  <a:pt x="2042796" y="-5386"/>
                  <a:pt x="2245608" y="-22401"/>
                  <a:pt x="2424466" y="0"/>
                </a:cubicBezTo>
                <a:cubicBezTo>
                  <a:pt x="2603324" y="22401"/>
                  <a:pt x="2890020" y="33806"/>
                  <a:pt x="3115439" y="0"/>
                </a:cubicBezTo>
                <a:cubicBezTo>
                  <a:pt x="3340858" y="-33806"/>
                  <a:pt x="3428300" y="18628"/>
                  <a:pt x="3636699" y="0"/>
                </a:cubicBezTo>
                <a:cubicBezTo>
                  <a:pt x="3845098" y="-18628"/>
                  <a:pt x="4108824" y="5541"/>
                  <a:pt x="4242816" y="0"/>
                </a:cubicBezTo>
                <a:cubicBezTo>
                  <a:pt x="4242066" y="4160"/>
                  <a:pt x="4243125" y="10356"/>
                  <a:pt x="4242816" y="18288"/>
                </a:cubicBezTo>
                <a:cubicBezTo>
                  <a:pt x="4113424" y="32735"/>
                  <a:pt x="3768327" y="47567"/>
                  <a:pt x="3636699" y="18288"/>
                </a:cubicBezTo>
                <a:cubicBezTo>
                  <a:pt x="3505071" y="-10991"/>
                  <a:pt x="3294208" y="-4990"/>
                  <a:pt x="3030583" y="18288"/>
                </a:cubicBezTo>
                <a:cubicBezTo>
                  <a:pt x="2766958" y="41566"/>
                  <a:pt x="2649277" y="20974"/>
                  <a:pt x="2466894" y="18288"/>
                </a:cubicBezTo>
                <a:cubicBezTo>
                  <a:pt x="2284511" y="15602"/>
                  <a:pt x="2151277" y="1154"/>
                  <a:pt x="1988062" y="18288"/>
                </a:cubicBezTo>
                <a:cubicBezTo>
                  <a:pt x="1824847" y="35422"/>
                  <a:pt x="1691359" y="9265"/>
                  <a:pt x="1466802" y="18288"/>
                </a:cubicBezTo>
                <a:cubicBezTo>
                  <a:pt x="1242245" y="27311"/>
                  <a:pt x="1006161" y="36605"/>
                  <a:pt x="860686" y="18288"/>
                </a:cubicBezTo>
                <a:cubicBezTo>
                  <a:pt x="715211" y="-29"/>
                  <a:pt x="242774" y="46538"/>
                  <a:pt x="0" y="18288"/>
                </a:cubicBezTo>
                <a:cubicBezTo>
                  <a:pt x="-146" y="11482"/>
                  <a:pt x="-422" y="5192"/>
                  <a:pt x="0" y="0"/>
                </a:cubicBezTo>
                <a:close/>
              </a:path>
              <a:path w="4242816" h="18288" stroke="0" extrusionOk="0">
                <a:moveTo>
                  <a:pt x="0" y="0"/>
                </a:moveTo>
                <a:cubicBezTo>
                  <a:pt x="259751" y="-14018"/>
                  <a:pt x="356632" y="-15007"/>
                  <a:pt x="521260" y="0"/>
                </a:cubicBezTo>
                <a:cubicBezTo>
                  <a:pt x="685888" y="15007"/>
                  <a:pt x="885786" y="5167"/>
                  <a:pt x="1212233" y="0"/>
                </a:cubicBezTo>
                <a:cubicBezTo>
                  <a:pt x="1538680" y="-5167"/>
                  <a:pt x="1458849" y="7951"/>
                  <a:pt x="1691065" y="0"/>
                </a:cubicBezTo>
                <a:cubicBezTo>
                  <a:pt x="1923281" y="-7951"/>
                  <a:pt x="1985780" y="-16303"/>
                  <a:pt x="2169897" y="0"/>
                </a:cubicBezTo>
                <a:cubicBezTo>
                  <a:pt x="2354014" y="16303"/>
                  <a:pt x="2633054" y="-2739"/>
                  <a:pt x="2776014" y="0"/>
                </a:cubicBezTo>
                <a:cubicBezTo>
                  <a:pt x="2918974" y="2739"/>
                  <a:pt x="3112688" y="-15682"/>
                  <a:pt x="3339702" y="0"/>
                </a:cubicBezTo>
                <a:cubicBezTo>
                  <a:pt x="3566716" y="15682"/>
                  <a:pt x="4015278" y="-28467"/>
                  <a:pt x="4242816" y="0"/>
                </a:cubicBezTo>
                <a:cubicBezTo>
                  <a:pt x="4243501" y="7633"/>
                  <a:pt x="4242294" y="10002"/>
                  <a:pt x="4242816" y="18288"/>
                </a:cubicBezTo>
                <a:cubicBezTo>
                  <a:pt x="3924964" y="16283"/>
                  <a:pt x="3746362" y="-1805"/>
                  <a:pt x="3551843" y="18288"/>
                </a:cubicBezTo>
                <a:cubicBezTo>
                  <a:pt x="3357324" y="38381"/>
                  <a:pt x="3126422" y="47156"/>
                  <a:pt x="2860870" y="18288"/>
                </a:cubicBezTo>
                <a:cubicBezTo>
                  <a:pt x="2595318" y="-10580"/>
                  <a:pt x="2572437" y="11441"/>
                  <a:pt x="2297182" y="18288"/>
                </a:cubicBezTo>
                <a:cubicBezTo>
                  <a:pt x="2021927" y="25135"/>
                  <a:pt x="1916908" y="33601"/>
                  <a:pt x="1733493" y="18288"/>
                </a:cubicBezTo>
                <a:cubicBezTo>
                  <a:pt x="1550078" y="2975"/>
                  <a:pt x="1412440" y="27896"/>
                  <a:pt x="1212233" y="18288"/>
                </a:cubicBezTo>
                <a:cubicBezTo>
                  <a:pt x="1012026" y="8680"/>
                  <a:pt x="914386" y="13859"/>
                  <a:pt x="648545" y="18288"/>
                </a:cubicBezTo>
                <a:cubicBezTo>
                  <a:pt x="382704" y="22717"/>
                  <a:pt x="233522" y="39342"/>
                  <a:pt x="0" y="18288"/>
                </a:cubicBezTo>
                <a:cubicBezTo>
                  <a:pt x="-772" y="13661"/>
                  <a:pt x="-839" y="849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7163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F2DA81D-8AB1-DB44-D0FB-44D2A7AF1F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42385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2C61293E-6EBE-43EF-A52C-9BEBFD7679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6B67AC-729B-8A2C-581F-627A04149C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54296" y="329184"/>
            <a:ext cx="6894576" cy="178308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/>
            <a:r>
              <a:rPr lang="en-US" sz="5400"/>
              <a:t>Key Trends and Driver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0BB5011-058E-2F6D-968F-889F58815EE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7878" r="19826" b="1"/>
          <a:stretch/>
        </p:blipFill>
        <p:spPr>
          <a:xfrm>
            <a:off x="20" y="1"/>
            <a:ext cx="4052522" cy="6858000"/>
          </a:xfrm>
          <a:custGeom>
            <a:avLst/>
            <a:gdLst/>
            <a:ahLst/>
            <a:cxnLst/>
            <a:rect l="l" t="t" r="r" b="b"/>
            <a:pathLst>
              <a:path w="4052542" h="6858000">
                <a:moveTo>
                  <a:pt x="0" y="0"/>
                </a:moveTo>
                <a:lnTo>
                  <a:pt x="4020923" y="0"/>
                </a:lnTo>
                <a:lnTo>
                  <a:pt x="4022656" y="14697"/>
                </a:lnTo>
                <a:cubicBezTo>
                  <a:pt x="4037606" y="98462"/>
                  <a:pt x="4035072" y="183369"/>
                  <a:pt x="4039126" y="267642"/>
                </a:cubicBezTo>
                <a:cubicBezTo>
                  <a:pt x="4043941" y="370699"/>
                  <a:pt x="4037860" y="474136"/>
                  <a:pt x="4035579" y="577446"/>
                </a:cubicBezTo>
                <a:cubicBezTo>
                  <a:pt x="4033805" y="665399"/>
                  <a:pt x="4025063" y="753226"/>
                  <a:pt x="4027724" y="841306"/>
                </a:cubicBezTo>
                <a:cubicBezTo>
                  <a:pt x="4027914" y="844352"/>
                  <a:pt x="4027914" y="847398"/>
                  <a:pt x="4027724" y="850444"/>
                </a:cubicBezTo>
                <a:cubicBezTo>
                  <a:pt x="4019615" y="947281"/>
                  <a:pt x="4019615" y="1044626"/>
                  <a:pt x="4027724" y="1141464"/>
                </a:cubicBezTo>
                <a:cubicBezTo>
                  <a:pt x="4030296" y="1181772"/>
                  <a:pt x="4029574" y="1222221"/>
                  <a:pt x="4025570" y="1262415"/>
                </a:cubicBezTo>
                <a:cubicBezTo>
                  <a:pt x="4021769" y="1313563"/>
                  <a:pt x="4009606" y="1365472"/>
                  <a:pt x="4018348" y="1416238"/>
                </a:cubicBezTo>
                <a:cubicBezTo>
                  <a:pt x="4024037" y="1458058"/>
                  <a:pt x="4027166" y="1500194"/>
                  <a:pt x="4027724" y="1542394"/>
                </a:cubicBezTo>
                <a:cubicBezTo>
                  <a:pt x="4032158" y="1636820"/>
                  <a:pt x="4027977" y="1731753"/>
                  <a:pt x="4026330" y="1826433"/>
                </a:cubicBezTo>
                <a:cubicBezTo>
                  <a:pt x="4024556" y="1936724"/>
                  <a:pt x="4027344" y="2047015"/>
                  <a:pt x="4018475" y="2157432"/>
                </a:cubicBezTo>
                <a:cubicBezTo>
                  <a:pt x="4013597" y="2246629"/>
                  <a:pt x="4013597" y="2336029"/>
                  <a:pt x="4018475" y="2425226"/>
                </a:cubicBezTo>
                <a:cubicBezTo>
                  <a:pt x="4020882" y="2506961"/>
                  <a:pt x="4033172" y="2587934"/>
                  <a:pt x="4031145" y="2670557"/>
                </a:cubicBezTo>
                <a:cubicBezTo>
                  <a:pt x="4028737" y="2766886"/>
                  <a:pt x="4017335" y="2862962"/>
                  <a:pt x="4020882" y="2959546"/>
                </a:cubicBezTo>
                <a:cubicBezTo>
                  <a:pt x="4022529" y="3005617"/>
                  <a:pt x="4022656" y="3051688"/>
                  <a:pt x="4023543" y="3097758"/>
                </a:cubicBezTo>
                <a:cubicBezTo>
                  <a:pt x="4024683" y="3153221"/>
                  <a:pt x="4034692" y="3208556"/>
                  <a:pt x="4029117" y="3263892"/>
                </a:cubicBezTo>
                <a:cubicBezTo>
                  <a:pt x="4019869" y="3356161"/>
                  <a:pt x="3995923" y="3446906"/>
                  <a:pt x="4010873" y="3541459"/>
                </a:cubicBezTo>
                <a:cubicBezTo>
                  <a:pt x="4019108" y="3593495"/>
                  <a:pt x="4028357" y="3645658"/>
                  <a:pt x="4033172" y="3698201"/>
                </a:cubicBezTo>
                <a:cubicBezTo>
                  <a:pt x="4037353" y="3745160"/>
                  <a:pt x="4047868" y="3792881"/>
                  <a:pt x="4039886" y="3839586"/>
                </a:cubicBezTo>
                <a:cubicBezTo>
                  <a:pt x="4033045" y="3879565"/>
                  <a:pt x="4036592" y="3919544"/>
                  <a:pt x="4031271" y="3959523"/>
                </a:cubicBezTo>
                <a:cubicBezTo>
                  <a:pt x="4024303" y="4011939"/>
                  <a:pt x="4020629" y="4065244"/>
                  <a:pt x="4015308" y="4118042"/>
                </a:cubicBezTo>
                <a:cubicBezTo>
                  <a:pt x="4010620" y="4165889"/>
                  <a:pt x="4006946" y="4213610"/>
                  <a:pt x="4019615" y="4258539"/>
                </a:cubicBezTo>
                <a:cubicBezTo>
                  <a:pt x="4050656" y="4371622"/>
                  <a:pt x="4033679" y="4484070"/>
                  <a:pt x="4022023" y="4596391"/>
                </a:cubicBezTo>
                <a:cubicBezTo>
                  <a:pt x="4016321" y="4650965"/>
                  <a:pt x="4007959" y="4708712"/>
                  <a:pt x="4020629" y="4758718"/>
                </a:cubicBezTo>
                <a:cubicBezTo>
                  <a:pt x="4043941" y="4847432"/>
                  <a:pt x="4025697" y="4931705"/>
                  <a:pt x="4015561" y="5016866"/>
                </a:cubicBezTo>
                <a:cubicBezTo>
                  <a:pt x="4003335" y="5100174"/>
                  <a:pt x="4005096" y="5184929"/>
                  <a:pt x="4020756" y="5267654"/>
                </a:cubicBezTo>
                <a:cubicBezTo>
                  <a:pt x="4033172" y="5326035"/>
                  <a:pt x="4033172" y="5385432"/>
                  <a:pt x="4034692" y="5444194"/>
                </a:cubicBezTo>
                <a:cubicBezTo>
                  <a:pt x="4035579" y="5481001"/>
                  <a:pt x="4022023" y="5518441"/>
                  <a:pt x="4013027" y="5555120"/>
                </a:cubicBezTo>
                <a:cubicBezTo>
                  <a:pt x="3996937" y="5621371"/>
                  <a:pt x="3991109" y="5688636"/>
                  <a:pt x="4013027" y="5753237"/>
                </a:cubicBezTo>
                <a:cubicBezTo>
                  <a:pt x="4043561" y="5842713"/>
                  <a:pt x="4061045" y="5932189"/>
                  <a:pt x="4048375" y="6026870"/>
                </a:cubicBezTo>
                <a:cubicBezTo>
                  <a:pt x="4041027" y="6085251"/>
                  <a:pt x="4039380" y="6144902"/>
                  <a:pt x="4028357" y="6202522"/>
                </a:cubicBezTo>
                <a:cubicBezTo>
                  <a:pt x="4010240" y="6298091"/>
                  <a:pt x="4016701" y="6393024"/>
                  <a:pt x="4031145" y="6487196"/>
                </a:cubicBezTo>
                <a:cubicBezTo>
                  <a:pt x="4041293" y="6565885"/>
                  <a:pt x="4042395" y="6645474"/>
                  <a:pt x="4034439" y="6724403"/>
                </a:cubicBezTo>
                <a:lnTo>
                  <a:pt x="4025206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sketchy line">
            <a:extLst>
              <a:ext uri="{FF2B5EF4-FFF2-40B4-BE49-F238E27FC236}">
                <a16:creationId xmlns:a16="http://schemas.microsoft.com/office/drawing/2014/main" id="{3FCFB1DE-0B7E-48CC-BA90-B2AB0889F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296" y="2395728"/>
            <a:ext cx="4243589" cy="18288"/>
          </a:xfrm>
          <a:custGeom>
            <a:avLst/>
            <a:gdLst>
              <a:gd name="connsiteX0" fmla="*/ 0 w 4243589"/>
              <a:gd name="connsiteY0" fmla="*/ 0 h 18288"/>
              <a:gd name="connsiteX1" fmla="*/ 478919 w 4243589"/>
              <a:gd name="connsiteY1" fmla="*/ 0 h 18288"/>
              <a:gd name="connsiteX2" fmla="*/ 957839 w 4243589"/>
              <a:gd name="connsiteY2" fmla="*/ 0 h 18288"/>
              <a:gd name="connsiteX3" fmla="*/ 1521630 w 4243589"/>
              <a:gd name="connsiteY3" fmla="*/ 0 h 18288"/>
              <a:gd name="connsiteX4" fmla="*/ 2212729 w 4243589"/>
              <a:gd name="connsiteY4" fmla="*/ 0 h 18288"/>
              <a:gd name="connsiteX5" fmla="*/ 2734084 w 4243589"/>
              <a:gd name="connsiteY5" fmla="*/ 0 h 18288"/>
              <a:gd name="connsiteX6" fmla="*/ 3255439 w 4243589"/>
              <a:gd name="connsiteY6" fmla="*/ 0 h 18288"/>
              <a:gd name="connsiteX7" fmla="*/ 4243589 w 4243589"/>
              <a:gd name="connsiteY7" fmla="*/ 0 h 18288"/>
              <a:gd name="connsiteX8" fmla="*/ 4243589 w 4243589"/>
              <a:gd name="connsiteY8" fmla="*/ 18288 h 18288"/>
              <a:gd name="connsiteX9" fmla="*/ 3594926 w 4243589"/>
              <a:gd name="connsiteY9" fmla="*/ 18288 h 18288"/>
              <a:gd name="connsiteX10" fmla="*/ 3073571 w 4243589"/>
              <a:gd name="connsiteY10" fmla="*/ 18288 h 18288"/>
              <a:gd name="connsiteX11" fmla="*/ 2552216 w 4243589"/>
              <a:gd name="connsiteY11" fmla="*/ 18288 h 18288"/>
              <a:gd name="connsiteX12" fmla="*/ 1903553 w 4243589"/>
              <a:gd name="connsiteY12" fmla="*/ 18288 h 18288"/>
              <a:gd name="connsiteX13" fmla="*/ 1212454 w 4243589"/>
              <a:gd name="connsiteY13" fmla="*/ 18288 h 18288"/>
              <a:gd name="connsiteX14" fmla="*/ 733535 w 4243589"/>
              <a:gd name="connsiteY14" fmla="*/ 18288 h 18288"/>
              <a:gd name="connsiteX15" fmla="*/ 0 w 4243589"/>
              <a:gd name="connsiteY15" fmla="*/ 18288 h 18288"/>
              <a:gd name="connsiteX16" fmla="*/ 0 w 4243589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18288" fill="none" extrusionOk="0">
                <a:moveTo>
                  <a:pt x="0" y="0"/>
                </a:moveTo>
                <a:cubicBezTo>
                  <a:pt x="213395" y="-21006"/>
                  <a:pt x="307421" y="-18116"/>
                  <a:pt x="478919" y="0"/>
                </a:cubicBezTo>
                <a:cubicBezTo>
                  <a:pt x="650417" y="18116"/>
                  <a:pt x="831092" y="-21237"/>
                  <a:pt x="957839" y="0"/>
                </a:cubicBezTo>
                <a:cubicBezTo>
                  <a:pt x="1084586" y="21237"/>
                  <a:pt x="1301682" y="25124"/>
                  <a:pt x="1521630" y="0"/>
                </a:cubicBezTo>
                <a:cubicBezTo>
                  <a:pt x="1741578" y="-25124"/>
                  <a:pt x="1970269" y="-29139"/>
                  <a:pt x="2212729" y="0"/>
                </a:cubicBezTo>
                <a:cubicBezTo>
                  <a:pt x="2455189" y="29139"/>
                  <a:pt x="2558847" y="-4796"/>
                  <a:pt x="2734084" y="0"/>
                </a:cubicBezTo>
                <a:cubicBezTo>
                  <a:pt x="2909321" y="4796"/>
                  <a:pt x="3097217" y="-13409"/>
                  <a:pt x="3255439" y="0"/>
                </a:cubicBezTo>
                <a:cubicBezTo>
                  <a:pt x="3413662" y="13409"/>
                  <a:pt x="3979999" y="-10121"/>
                  <a:pt x="4243589" y="0"/>
                </a:cubicBezTo>
                <a:cubicBezTo>
                  <a:pt x="4244484" y="8974"/>
                  <a:pt x="4243043" y="9359"/>
                  <a:pt x="4243589" y="18288"/>
                </a:cubicBezTo>
                <a:cubicBezTo>
                  <a:pt x="4058777" y="31246"/>
                  <a:pt x="3910348" y="3158"/>
                  <a:pt x="3594926" y="18288"/>
                </a:cubicBezTo>
                <a:cubicBezTo>
                  <a:pt x="3279504" y="33418"/>
                  <a:pt x="3319955" y="-3977"/>
                  <a:pt x="3073571" y="18288"/>
                </a:cubicBezTo>
                <a:cubicBezTo>
                  <a:pt x="2827187" y="40553"/>
                  <a:pt x="2767387" y="1863"/>
                  <a:pt x="2552216" y="18288"/>
                </a:cubicBezTo>
                <a:cubicBezTo>
                  <a:pt x="2337046" y="34713"/>
                  <a:pt x="2181871" y="19527"/>
                  <a:pt x="1903553" y="18288"/>
                </a:cubicBezTo>
                <a:cubicBezTo>
                  <a:pt x="1625235" y="17049"/>
                  <a:pt x="1557672" y="24174"/>
                  <a:pt x="1212454" y="18288"/>
                </a:cubicBezTo>
                <a:cubicBezTo>
                  <a:pt x="867236" y="12402"/>
                  <a:pt x="874382" y="15627"/>
                  <a:pt x="733535" y="18288"/>
                </a:cubicBezTo>
                <a:cubicBezTo>
                  <a:pt x="592688" y="20949"/>
                  <a:pt x="183477" y="14753"/>
                  <a:pt x="0" y="18288"/>
                </a:cubicBezTo>
                <a:cubicBezTo>
                  <a:pt x="-229" y="14222"/>
                  <a:pt x="509" y="5816"/>
                  <a:pt x="0" y="0"/>
                </a:cubicBezTo>
                <a:close/>
              </a:path>
              <a:path w="4243589" h="18288" stroke="0" extrusionOk="0">
                <a:moveTo>
                  <a:pt x="0" y="0"/>
                </a:moveTo>
                <a:cubicBezTo>
                  <a:pt x="143690" y="16630"/>
                  <a:pt x="266667" y="14847"/>
                  <a:pt x="521355" y="0"/>
                </a:cubicBezTo>
                <a:cubicBezTo>
                  <a:pt x="776043" y="-14847"/>
                  <a:pt x="814491" y="-17363"/>
                  <a:pt x="1000275" y="0"/>
                </a:cubicBezTo>
                <a:cubicBezTo>
                  <a:pt x="1186059" y="17363"/>
                  <a:pt x="1352504" y="-23507"/>
                  <a:pt x="1521630" y="0"/>
                </a:cubicBezTo>
                <a:cubicBezTo>
                  <a:pt x="1690756" y="23507"/>
                  <a:pt x="1889525" y="5871"/>
                  <a:pt x="2127857" y="0"/>
                </a:cubicBezTo>
                <a:cubicBezTo>
                  <a:pt x="2366189" y="-5871"/>
                  <a:pt x="2620628" y="-27997"/>
                  <a:pt x="2776520" y="0"/>
                </a:cubicBezTo>
                <a:cubicBezTo>
                  <a:pt x="2932412" y="27997"/>
                  <a:pt x="3131683" y="-25073"/>
                  <a:pt x="3467618" y="0"/>
                </a:cubicBezTo>
                <a:cubicBezTo>
                  <a:pt x="3803553" y="25073"/>
                  <a:pt x="4017371" y="3071"/>
                  <a:pt x="4243589" y="0"/>
                </a:cubicBezTo>
                <a:cubicBezTo>
                  <a:pt x="4243134" y="6162"/>
                  <a:pt x="4243492" y="11775"/>
                  <a:pt x="4243589" y="18288"/>
                </a:cubicBezTo>
                <a:cubicBezTo>
                  <a:pt x="4017834" y="-5779"/>
                  <a:pt x="3834586" y="13376"/>
                  <a:pt x="3594926" y="18288"/>
                </a:cubicBezTo>
                <a:cubicBezTo>
                  <a:pt x="3355266" y="23200"/>
                  <a:pt x="3204179" y="2869"/>
                  <a:pt x="2903827" y="18288"/>
                </a:cubicBezTo>
                <a:cubicBezTo>
                  <a:pt x="2603475" y="33707"/>
                  <a:pt x="2526187" y="46187"/>
                  <a:pt x="2212729" y="18288"/>
                </a:cubicBezTo>
                <a:cubicBezTo>
                  <a:pt x="1899271" y="-9611"/>
                  <a:pt x="1966289" y="29692"/>
                  <a:pt x="1733809" y="18288"/>
                </a:cubicBezTo>
                <a:cubicBezTo>
                  <a:pt x="1501329" y="6884"/>
                  <a:pt x="1343612" y="12492"/>
                  <a:pt x="1085146" y="18288"/>
                </a:cubicBezTo>
                <a:cubicBezTo>
                  <a:pt x="826680" y="24084"/>
                  <a:pt x="778184" y="35607"/>
                  <a:pt x="521355" y="18288"/>
                </a:cubicBezTo>
                <a:cubicBezTo>
                  <a:pt x="264526" y="969"/>
                  <a:pt x="120277" y="4268"/>
                  <a:pt x="0" y="18288"/>
                </a:cubicBezTo>
                <a:cubicBezTo>
                  <a:pt x="766" y="10800"/>
                  <a:pt x="-457" y="818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1CB17D-5C6E-717E-F3C1-93150592FA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54296" y="2706624"/>
            <a:ext cx="6894576" cy="3483864"/>
          </a:xfrm>
        </p:spPr>
        <p:txBody>
          <a:bodyPr vert="horz" lIns="91440" tIns="45720" rIns="91440" bIns="45720" rtlCol="0">
            <a:noAutofit/>
          </a:bodyPr>
          <a:lstStyle/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Health and wellness trend - The increasing consumer focus on health and well-being and its impact on the market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Demand for functional beverages - The growing preference for beverages with added benefits, such as electrolyte replenishment and energy boost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Innovation in flavors and ingredients - How companies are using novel ingredients and flavors to differentiate their products and attract consumer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Increased focus on hydration - The importance of hydration in athletic performance and overall health, driving demand for hydration-focused product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200321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3E51D49-67B3-678C-1A77-7C3E044E58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34309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9B7AD9F6-8CE7-4299-8FC6-328F4DCD3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E3B1DA-0D78-0672-402F-02A85AB821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54296" y="640080"/>
            <a:ext cx="6894576" cy="3566160"/>
          </a:xfrm>
        </p:spPr>
        <p:txBody>
          <a:bodyPr vert="horz" anchor="b">
            <a:normAutofit/>
          </a:bodyPr>
          <a:lstStyle/>
          <a:p>
            <a:pPr algn="l"/>
            <a:r>
              <a:rPr lang="en-US" sz="6600"/>
              <a:t>Market Segment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EC8D8DD-F1CD-FB02-B1DA-FBCAECD13B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54296" y="4636008"/>
            <a:ext cx="6894576" cy="1572768"/>
          </a:xfrm>
        </p:spPr>
        <p:txBody>
          <a:bodyPr vert="horz" lIns="91440" tIns="45720" rIns="91440" bIns="45720" rtlCol="0">
            <a:noAutofit/>
          </a:bodyPr>
          <a:lstStyle/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By product type (isotonic, hypotonic, hypertonic) - Exploring the different types of sports drinks and their unique characteristic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By distribution channel (supermarkets, convenience stores, online) - Analyzing the various channels through which these products are sold and their market share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By demographic (athletes, casual consumers, age groups) - Investigating the different consumer segments and their preference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By geography (North America, Europe, Asia-Pacific, etc.) - Comparing the market performance across various regions and countrie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E2EE6C6-1A2C-153F-1F6B-86FDF3C3363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4605" r="15239" b="-1"/>
          <a:stretch/>
        </p:blipFill>
        <p:spPr>
          <a:xfrm>
            <a:off x="20" y="10"/>
            <a:ext cx="4049786" cy="6857990"/>
          </a:xfrm>
          <a:custGeom>
            <a:avLst/>
            <a:gdLst/>
            <a:ahLst/>
            <a:cxnLst/>
            <a:rect l="l" t="t" r="r" b="b"/>
            <a:pathLst>
              <a:path w="4049806" h="6858000">
                <a:moveTo>
                  <a:pt x="0" y="0"/>
                </a:moveTo>
                <a:lnTo>
                  <a:pt x="4018525" y="0"/>
                </a:lnTo>
                <a:lnTo>
                  <a:pt x="4019816" y="10931"/>
                </a:lnTo>
                <a:cubicBezTo>
                  <a:pt x="4034945" y="94836"/>
                  <a:pt x="4032275" y="179884"/>
                  <a:pt x="4036343" y="264297"/>
                </a:cubicBezTo>
                <a:cubicBezTo>
                  <a:pt x="4041301" y="367652"/>
                  <a:pt x="4035072" y="471135"/>
                  <a:pt x="4032911" y="574617"/>
                </a:cubicBezTo>
                <a:cubicBezTo>
                  <a:pt x="4031004" y="662717"/>
                  <a:pt x="4022232" y="750690"/>
                  <a:pt x="4025029" y="838916"/>
                </a:cubicBezTo>
                <a:cubicBezTo>
                  <a:pt x="4025029" y="841968"/>
                  <a:pt x="4025029" y="845019"/>
                  <a:pt x="4025029" y="848070"/>
                </a:cubicBezTo>
                <a:cubicBezTo>
                  <a:pt x="4017020" y="945068"/>
                  <a:pt x="4017020" y="1042576"/>
                  <a:pt x="4025029" y="1139574"/>
                </a:cubicBezTo>
                <a:cubicBezTo>
                  <a:pt x="4027609" y="1179950"/>
                  <a:pt x="4026885" y="1220466"/>
                  <a:pt x="4022868" y="1260728"/>
                </a:cubicBezTo>
                <a:cubicBezTo>
                  <a:pt x="4019054" y="1311960"/>
                  <a:pt x="4006849" y="1364083"/>
                  <a:pt x="4015621" y="1414934"/>
                </a:cubicBezTo>
                <a:cubicBezTo>
                  <a:pt x="4021367" y="1456784"/>
                  <a:pt x="4024558" y="1498940"/>
                  <a:pt x="4025156" y="1541172"/>
                </a:cubicBezTo>
                <a:cubicBezTo>
                  <a:pt x="4029478" y="1635755"/>
                  <a:pt x="4025283" y="1730847"/>
                  <a:pt x="4023757" y="1825685"/>
                </a:cubicBezTo>
                <a:cubicBezTo>
                  <a:pt x="4021850" y="1936286"/>
                  <a:pt x="4024647" y="2046634"/>
                  <a:pt x="4015748" y="2157235"/>
                </a:cubicBezTo>
                <a:cubicBezTo>
                  <a:pt x="4010790" y="2246581"/>
                  <a:pt x="4010790" y="2336130"/>
                  <a:pt x="4015748" y="2425476"/>
                </a:cubicBezTo>
                <a:cubicBezTo>
                  <a:pt x="4018164" y="2507473"/>
                  <a:pt x="4030495" y="2588454"/>
                  <a:pt x="4028461" y="2671214"/>
                </a:cubicBezTo>
                <a:cubicBezTo>
                  <a:pt x="4026046" y="2767832"/>
                  <a:pt x="4014604" y="2863940"/>
                  <a:pt x="4018164" y="2960685"/>
                </a:cubicBezTo>
                <a:cubicBezTo>
                  <a:pt x="4019816" y="3006832"/>
                  <a:pt x="4019944" y="3052980"/>
                  <a:pt x="4020961" y="3099127"/>
                </a:cubicBezTo>
                <a:cubicBezTo>
                  <a:pt x="4021978" y="3154682"/>
                  <a:pt x="4032021" y="3210110"/>
                  <a:pt x="4026427" y="3265665"/>
                </a:cubicBezTo>
                <a:cubicBezTo>
                  <a:pt x="4017147" y="3358087"/>
                  <a:pt x="3993120" y="3448857"/>
                  <a:pt x="4008121" y="3543567"/>
                </a:cubicBezTo>
                <a:cubicBezTo>
                  <a:pt x="4016384" y="3595690"/>
                  <a:pt x="4025791" y="3647940"/>
                  <a:pt x="4030495" y="3700571"/>
                </a:cubicBezTo>
                <a:cubicBezTo>
                  <a:pt x="4034690" y="3747608"/>
                  <a:pt x="4045369" y="3795408"/>
                  <a:pt x="4037233" y="3842191"/>
                </a:cubicBezTo>
                <a:cubicBezTo>
                  <a:pt x="4030368" y="3882237"/>
                  <a:pt x="4034055" y="3922282"/>
                  <a:pt x="4028715" y="3962327"/>
                </a:cubicBezTo>
                <a:cubicBezTo>
                  <a:pt x="4021723" y="4014831"/>
                  <a:pt x="4017910" y="4068352"/>
                  <a:pt x="4012697" y="4121111"/>
                </a:cubicBezTo>
                <a:cubicBezTo>
                  <a:pt x="4007866" y="4169038"/>
                  <a:pt x="4004307" y="4216838"/>
                  <a:pt x="4017020" y="4261841"/>
                </a:cubicBezTo>
                <a:cubicBezTo>
                  <a:pt x="4048039" y="4375112"/>
                  <a:pt x="4031004" y="4487748"/>
                  <a:pt x="4019308" y="4600257"/>
                </a:cubicBezTo>
                <a:cubicBezTo>
                  <a:pt x="4013587" y="4655049"/>
                  <a:pt x="4005197" y="4712765"/>
                  <a:pt x="4017910" y="4762853"/>
                </a:cubicBezTo>
                <a:cubicBezTo>
                  <a:pt x="4041428" y="4851716"/>
                  <a:pt x="4022995" y="4936764"/>
                  <a:pt x="4012824" y="5021432"/>
                </a:cubicBezTo>
                <a:cubicBezTo>
                  <a:pt x="4002654" y="5106099"/>
                  <a:pt x="4000239" y="5189495"/>
                  <a:pt x="4018037" y="5272637"/>
                </a:cubicBezTo>
                <a:cubicBezTo>
                  <a:pt x="4030495" y="5331116"/>
                  <a:pt x="4030495" y="5390612"/>
                  <a:pt x="4032021" y="5449600"/>
                </a:cubicBezTo>
                <a:cubicBezTo>
                  <a:pt x="4032911" y="5486339"/>
                  <a:pt x="4019308" y="5523842"/>
                  <a:pt x="4010282" y="5560582"/>
                </a:cubicBezTo>
                <a:cubicBezTo>
                  <a:pt x="3994009" y="5626943"/>
                  <a:pt x="3988162" y="5694321"/>
                  <a:pt x="4010282" y="5759029"/>
                </a:cubicBezTo>
                <a:cubicBezTo>
                  <a:pt x="4040793" y="5848655"/>
                  <a:pt x="4058336" y="5938407"/>
                  <a:pt x="4045623" y="6033117"/>
                </a:cubicBezTo>
                <a:cubicBezTo>
                  <a:pt x="4038377" y="6091724"/>
                  <a:pt x="4036597" y="6151347"/>
                  <a:pt x="4025664" y="6209190"/>
                </a:cubicBezTo>
                <a:cubicBezTo>
                  <a:pt x="4007358" y="6304790"/>
                  <a:pt x="4013841" y="6399882"/>
                  <a:pt x="4028461" y="6494211"/>
                </a:cubicBezTo>
                <a:cubicBezTo>
                  <a:pt x="4038542" y="6573081"/>
                  <a:pt x="4039610" y="6652829"/>
                  <a:pt x="4031639" y="6731941"/>
                </a:cubicBezTo>
                <a:lnTo>
                  <a:pt x="402291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sketchy line">
            <a:extLst>
              <a:ext uri="{FF2B5EF4-FFF2-40B4-BE49-F238E27FC236}">
                <a16:creationId xmlns:a16="http://schemas.microsoft.com/office/drawing/2014/main" id="{82580482-BA80-420A-8A05-C58E97F26B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54296" y="4409267"/>
            <a:ext cx="4242816" cy="18288"/>
          </a:xfrm>
          <a:custGeom>
            <a:avLst/>
            <a:gdLst>
              <a:gd name="connsiteX0" fmla="*/ 0 w 4242816"/>
              <a:gd name="connsiteY0" fmla="*/ 0 h 18288"/>
              <a:gd name="connsiteX1" fmla="*/ 690973 w 4242816"/>
              <a:gd name="connsiteY1" fmla="*/ 0 h 18288"/>
              <a:gd name="connsiteX2" fmla="*/ 1212233 w 4242816"/>
              <a:gd name="connsiteY2" fmla="*/ 0 h 18288"/>
              <a:gd name="connsiteX3" fmla="*/ 1860778 w 4242816"/>
              <a:gd name="connsiteY3" fmla="*/ 0 h 18288"/>
              <a:gd name="connsiteX4" fmla="*/ 2424466 w 4242816"/>
              <a:gd name="connsiteY4" fmla="*/ 0 h 18288"/>
              <a:gd name="connsiteX5" fmla="*/ 3115439 w 4242816"/>
              <a:gd name="connsiteY5" fmla="*/ 0 h 18288"/>
              <a:gd name="connsiteX6" fmla="*/ 3636699 w 4242816"/>
              <a:gd name="connsiteY6" fmla="*/ 0 h 18288"/>
              <a:gd name="connsiteX7" fmla="*/ 4242816 w 4242816"/>
              <a:gd name="connsiteY7" fmla="*/ 0 h 18288"/>
              <a:gd name="connsiteX8" fmla="*/ 4242816 w 4242816"/>
              <a:gd name="connsiteY8" fmla="*/ 18288 h 18288"/>
              <a:gd name="connsiteX9" fmla="*/ 3636699 w 4242816"/>
              <a:gd name="connsiteY9" fmla="*/ 18288 h 18288"/>
              <a:gd name="connsiteX10" fmla="*/ 3030583 w 4242816"/>
              <a:gd name="connsiteY10" fmla="*/ 18288 h 18288"/>
              <a:gd name="connsiteX11" fmla="*/ 2466894 w 4242816"/>
              <a:gd name="connsiteY11" fmla="*/ 18288 h 18288"/>
              <a:gd name="connsiteX12" fmla="*/ 1988062 w 4242816"/>
              <a:gd name="connsiteY12" fmla="*/ 18288 h 18288"/>
              <a:gd name="connsiteX13" fmla="*/ 1466802 w 4242816"/>
              <a:gd name="connsiteY13" fmla="*/ 18288 h 18288"/>
              <a:gd name="connsiteX14" fmla="*/ 860686 w 4242816"/>
              <a:gd name="connsiteY14" fmla="*/ 18288 h 18288"/>
              <a:gd name="connsiteX15" fmla="*/ 0 w 4242816"/>
              <a:gd name="connsiteY15" fmla="*/ 18288 h 18288"/>
              <a:gd name="connsiteX16" fmla="*/ 0 w 4242816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2816" h="18288" fill="none" extrusionOk="0">
                <a:moveTo>
                  <a:pt x="0" y="0"/>
                </a:moveTo>
                <a:cubicBezTo>
                  <a:pt x="249934" y="1471"/>
                  <a:pt x="379877" y="-29444"/>
                  <a:pt x="690973" y="0"/>
                </a:cubicBezTo>
                <a:cubicBezTo>
                  <a:pt x="1002069" y="29444"/>
                  <a:pt x="1021583" y="17501"/>
                  <a:pt x="1212233" y="0"/>
                </a:cubicBezTo>
                <a:cubicBezTo>
                  <a:pt x="1402883" y="-17501"/>
                  <a:pt x="1678760" y="5386"/>
                  <a:pt x="1860778" y="0"/>
                </a:cubicBezTo>
                <a:cubicBezTo>
                  <a:pt x="2042796" y="-5386"/>
                  <a:pt x="2245608" y="-22401"/>
                  <a:pt x="2424466" y="0"/>
                </a:cubicBezTo>
                <a:cubicBezTo>
                  <a:pt x="2603324" y="22401"/>
                  <a:pt x="2890020" y="33806"/>
                  <a:pt x="3115439" y="0"/>
                </a:cubicBezTo>
                <a:cubicBezTo>
                  <a:pt x="3340858" y="-33806"/>
                  <a:pt x="3428300" y="18628"/>
                  <a:pt x="3636699" y="0"/>
                </a:cubicBezTo>
                <a:cubicBezTo>
                  <a:pt x="3845098" y="-18628"/>
                  <a:pt x="4108824" y="5541"/>
                  <a:pt x="4242816" y="0"/>
                </a:cubicBezTo>
                <a:cubicBezTo>
                  <a:pt x="4242066" y="4160"/>
                  <a:pt x="4243125" y="10356"/>
                  <a:pt x="4242816" y="18288"/>
                </a:cubicBezTo>
                <a:cubicBezTo>
                  <a:pt x="4113424" y="32735"/>
                  <a:pt x="3768327" y="47567"/>
                  <a:pt x="3636699" y="18288"/>
                </a:cubicBezTo>
                <a:cubicBezTo>
                  <a:pt x="3505071" y="-10991"/>
                  <a:pt x="3294208" y="-4990"/>
                  <a:pt x="3030583" y="18288"/>
                </a:cubicBezTo>
                <a:cubicBezTo>
                  <a:pt x="2766958" y="41566"/>
                  <a:pt x="2649277" y="20974"/>
                  <a:pt x="2466894" y="18288"/>
                </a:cubicBezTo>
                <a:cubicBezTo>
                  <a:pt x="2284511" y="15602"/>
                  <a:pt x="2151277" y="1154"/>
                  <a:pt x="1988062" y="18288"/>
                </a:cubicBezTo>
                <a:cubicBezTo>
                  <a:pt x="1824847" y="35422"/>
                  <a:pt x="1691359" y="9265"/>
                  <a:pt x="1466802" y="18288"/>
                </a:cubicBezTo>
                <a:cubicBezTo>
                  <a:pt x="1242245" y="27311"/>
                  <a:pt x="1006161" y="36605"/>
                  <a:pt x="860686" y="18288"/>
                </a:cubicBezTo>
                <a:cubicBezTo>
                  <a:pt x="715211" y="-29"/>
                  <a:pt x="242774" y="46538"/>
                  <a:pt x="0" y="18288"/>
                </a:cubicBezTo>
                <a:cubicBezTo>
                  <a:pt x="-146" y="11482"/>
                  <a:pt x="-422" y="5192"/>
                  <a:pt x="0" y="0"/>
                </a:cubicBezTo>
                <a:close/>
              </a:path>
              <a:path w="4242816" h="18288" stroke="0" extrusionOk="0">
                <a:moveTo>
                  <a:pt x="0" y="0"/>
                </a:moveTo>
                <a:cubicBezTo>
                  <a:pt x="259751" y="-14018"/>
                  <a:pt x="356632" y="-15007"/>
                  <a:pt x="521260" y="0"/>
                </a:cubicBezTo>
                <a:cubicBezTo>
                  <a:pt x="685888" y="15007"/>
                  <a:pt x="885786" y="5167"/>
                  <a:pt x="1212233" y="0"/>
                </a:cubicBezTo>
                <a:cubicBezTo>
                  <a:pt x="1538680" y="-5167"/>
                  <a:pt x="1458849" y="7951"/>
                  <a:pt x="1691065" y="0"/>
                </a:cubicBezTo>
                <a:cubicBezTo>
                  <a:pt x="1923281" y="-7951"/>
                  <a:pt x="1985780" y="-16303"/>
                  <a:pt x="2169897" y="0"/>
                </a:cubicBezTo>
                <a:cubicBezTo>
                  <a:pt x="2354014" y="16303"/>
                  <a:pt x="2633054" y="-2739"/>
                  <a:pt x="2776014" y="0"/>
                </a:cubicBezTo>
                <a:cubicBezTo>
                  <a:pt x="2918974" y="2739"/>
                  <a:pt x="3112688" y="-15682"/>
                  <a:pt x="3339702" y="0"/>
                </a:cubicBezTo>
                <a:cubicBezTo>
                  <a:pt x="3566716" y="15682"/>
                  <a:pt x="4015278" y="-28467"/>
                  <a:pt x="4242816" y="0"/>
                </a:cubicBezTo>
                <a:cubicBezTo>
                  <a:pt x="4243501" y="7633"/>
                  <a:pt x="4242294" y="10002"/>
                  <a:pt x="4242816" y="18288"/>
                </a:cubicBezTo>
                <a:cubicBezTo>
                  <a:pt x="3924964" y="16283"/>
                  <a:pt x="3746362" y="-1805"/>
                  <a:pt x="3551843" y="18288"/>
                </a:cubicBezTo>
                <a:cubicBezTo>
                  <a:pt x="3357324" y="38381"/>
                  <a:pt x="3126422" y="47156"/>
                  <a:pt x="2860870" y="18288"/>
                </a:cubicBezTo>
                <a:cubicBezTo>
                  <a:pt x="2595318" y="-10580"/>
                  <a:pt x="2572437" y="11441"/>
                  <a:pt x="2297182" y="18288"/>
                </a:cubicBezTo>
                <a:cubicBezTo>
                  <a:pt x="2021927" y="25135"/>
                  <a:pt x="1916908" y="33601"/>
                  <a:pt x="1733493" y="18288"/>
                </a:cubicBezTo>
                <a:cubicBezTo>
                  <a:pt x="1550078" y="2975"/>
                  <a:pt x="1412440" y="27896"/>
                  <a:pt x="1212233" y="18288"/>
                </a:cubicBezTo>
                <a:cubicBezTo>
                  <a:pt x="1012026" y="8680"/>
                  <a:pt x="914386" y="13859"/>
                  <a:pt x="648545" y="18288"/>
                </a:cubicBezTo>
                <a:cubicBezTo>
                  <a:pt x="382704" y="22717"/>
                  <a:pt x="233522" y="39342"/>
                  <a:pt x="0" y="18288"/>
                </a:cubicBezTo>
                <a:cubicBezTo>
                  <a:pt x="-772" y="13661"/>
                  <a:pt x="-839" y="849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0766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98F0F9C-C8B9-E9C6-45AB-704C187F9F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81758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2BC95DD-23DF-BE46-D20C-6129A8E77F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65297" y="647700"/>
            <a:ext cx="3259479" cy="555783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3600"/>
              <a:t>Competitive Landscape</a:t>
            </a:r>
          </a:p>
        </p:txBody>
      </p:sp>
      <p:pic>
        <p:nvPicPr>
          <p:cNvPr id="5" name="Picture 4" descr="Colourful grass on hills">
            <a:extLst>
              <a:ext uri="{FF2B5EF4-FFF2-40B4-BE49-F238E27FC236}">
                <a16:creationId xmlns:a16="http://schemas.microsoft.com/office/drawing/2014/main" id="{B1EDA16E-99E7-3A19-1E55-37CFAB8E8CC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5533" r="40473"/>
          <a:stretch/>
        </p:blipFill>
        <p:spPr>
          <a:xfrm>
            <a:off x="20" y="-1"/>
            <a:ext cx="4143544" cy="6856413"/>
          </a:xfrm>
          <a:custGeom>
            <a:avLst/>
            <a:gdLst/>
            <a:ahLst/>
            <a:cxnLst/>
            <a:rect l="l" t="t" r="r" b="b"/>
            <a:pathLst>
              <a:path w="4143564" h="6856413">
                <a:moveTo>
                  <a:pt x="0" y="0"/>
                </a:moveTo>
                <a:lnTo>
                  <a:pt x="4141667" y="0"/>
                </a:lnTo>
                <a:lnTo>
                  <a:pt x="4141086" y="145208"/>
                </a:lnTo>
                <a:cubicBezTo>
                  <a:pt x="4109790" y="1611281"/>
                  <a:pt x="3796834" y="3077353"/>
                  <a:pt x="4047199" y="4543426"/>
                </a:cubicBezTo>
                <a:cubicBezTo>
                  <a:pt x="4172382" y="5276463"/>
                  <a:pt x="4156734" y="6009499"/>
                  <a:pt x="4105878" y="6742536"/>
                </a:cubicBezTo>
                <a:lnTo>
                  <a:pt x="4096763" y="6856413"/>
                </a:lnTo>
                <a:lnTo>
                  <a:pt x="0" y="6856413"/>
                </a:lnTo>
                <a:close/>
              </a:path>
            </a:pathLst>
          </a:cu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D2C7019F-6124-BBDC-5288-CD91FED864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046509" y="647700"/>
            <a:ext cx="3662891" cy="5557838"/>
          </a:xfrm>
        </p:spPr>
        <p:txBody>
          <a:bodyPr vert="horz" lIns="91440" tIns="45720" rIns="91440" bIns="45720" rtlCol="0">
            <a:noAutofit/>
          </a:bodyPr>
          <a:lstStyle/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Major players in the market - Identifying the key companies dominating the sports drink and hydration beverage market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Market share analysis - Assessing the market share of major players and their product portfolio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Key strategies and differentiators - Analyzing the competitive strategies employed by these companies, such as marketing, innovation, and pricing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Emerging players and disruptors - Highlighting new entrants and their potential impact on the market dynamic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7329405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55752E4-25DB-B50F-8FB9-496B17905D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68043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32E62931-8EB4-42BB-BAAB-D8757BE66D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EE784B-5122-D4D5-715F-AB6614A29F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7461" y="728664"/>
            <a:ext cx="4984813" cy="3157080"/>
          </a:xfrm>
          <a:noFill/>
        </p:spPr>
        <p:txBody>
          <a:bodyPr vert="horz">
            <a:normAutofit/>
          </a:bodyPr>
          <a:lstStyle/>
          <a:p>
            <a:pPr algn="l"/>
            <a:r>
              <a:rPr lang="en-US" sz="5200"/>
              <a:t>Consumer Preferences and Behavio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C239DC-3A0E-9A06-86FA-299E48D963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67461" y="4072045"/>
            <a:ext cx="4984813" cy="2057289"/>
          </a:xfrm>
        </p:spPr>
        <p:txBody>
          <a:bodyPr vert="horz" lIns="91440" tIns="45720" rIns="91440" bIns="45720" rtlCol="0">
            <a:noAutofit/>
          </a:bodyPr>
          <a:lstStyle/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Factors influencing purchase decisions - Understanding the key drivers of consumer choice, such as taste, price, and health benefit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Brand loyalty and switching behavior - Examining the extent to which consumers are loyal to their favorite brands or open to trying new product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Preferred channels and formats - Analyzing consumer preferences for purchasing sports drinks and hydration beverages, including online and in-store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Trends in consumption patterns - Identifying shifts in consumer behavior, such as increasing interest in natural and organic ingredient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</p:txBody>
      </p:sp>
      <p:pic>
        <p:nvPicPr>
          <p:cNvPr id="5" name="Picture 4" descr="Abstract blurred background of department store">
            <a:extLst>
              <a:ext uri="{FF2B5EF4-FFF2-40B4-BE49-F238E27FC236}">
                <a16:creationId xmlns:a16="http://schemas.microsoft.com/office/drawing/2014/main" id="{752C9832-B20B-D010-48EB-ABC2C461B37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4817" r="26729" b="-1"/>
          <a:stretch/>
        </p:blipFill>
        <p:spPr>
          <a:xfrm>
            <a:off x="1" y="10"/>
            <a:ext cx="6005512" cy="685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1599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2DEFC7C-97E0-54EB-136B-9E9AD9D007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7745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80DF40B2-80F7-4E71-B46C-284163F365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304172-2278-50FB-3323-915CCDCACD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199" y="548464"/>
            <a:ext cx="3807187" cy="22280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/>
            <a:r>
              <a:rPr lang="en-US" sz="4000"/>
              <a:t>Product Innovation and Developmen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ACFE63-989A-DB3E-32EA-BB6E33981C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1" y="2962279"/>
            <a:ext cx="3799425" cy="3143241"/>
          </a:xfrm>
        </p:spPr>
        <p:txBody>
          <a:bodyPr vert="horz" lIns="91440" tIns="45720" rIns="91440" bIns="45720" rtlCol="0">
            <a:noAutofit/>
          </a:bodyPr>
          <a:lstStyle/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Innovative ingredients and formulations - Exploring the use of new and unique ingredients in product development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Customization and personalization - The trend towards products tailored to individual needs and preference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Sustainability and eco-friendly packaging - How companies are addressing environmental concerns in product design and packaging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Collaborations and partnerships - The role of strategic alliances in driving innovation and market expansion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4D71361-799A-4DDC-6077-99A3FC54B9F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4506"/>
          <a:stretch/>
        </p:blipFill>
        <p:spPr>
          <a:xfrm>
            <a:off x="5010386" y="10"/>
            <a:ext cx="7181613" cy="6857990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988567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94967FA-5627-8DBE-F718-1C9D2F843F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91291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8380AD67-C5CA-4918-B4BB-C359BB03EE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90E2561-D67D-3A03-C38C-AC660A345E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80216" y="1076324"/>
            <a:ext cx="6272784" cy="1535051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/>
            <a:r>
              <a:rPr lang="en-US" sz="5200"/>
              <a:t>Market Opportunities and Strategies</a:t>
            </a:r>
          </a:p>
        </p:txBody>
      </p:sp>
      <p:pic>
        <p:nvPicPr>
          <p:cNvPr id="5" name="Picture 4" descr="An illustration of flying paper planes">
            <a:extLst>
              <a:ext uri="{FF2B5EF4-FFF2-40B4-BE49-F238E27FC236}">
                <a16:creationId xmlns:a16="http://schemas.microsoft.com/office/drawing/2014/main" id="{E8D8590D-2A7C-D1F9-429B-3DC541953FF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2017" r="32982" b="-1"/>
          <a:stretch/>
        </p:blipFill>
        <p:spPr>
          <a:xfrm>
            <a:off x="20" y="10"/>
            <a:ext cx="4505305" cy="6857990"/>
          </a:xfrm>
          <a:prstGeom prst="rect">
            <a:avLst/>
          </a:prstGeom>
        </p:spPr>
      </p:pic>
      <p:sp>
        <p:nvSpPr>
          <p:cNvPr id="11" name="!!accent">
            <a:extLst>
              <a:ext uri="{FF2B5EF4-FFF2-40B4-BE49-F238E27FC236}">
                <a16:creationId xmlns:a16="http://schemas.microsoft.com/office/drawing/2014/main" id="{EABAD4DA-87BA-4F70-9EF0-45C6BCF178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317960" y="363389"/>
            <a:ext cx="73152" cy="5486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15128D9-2797-47FA-B6FE-EC24E6B843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099266" y="2935541"/>
            <a:ext cx="621792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FCD6A9-6508-2BBF-AF6B-E1FAE01651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80216" y="3351276"/>
            <a:ext cx="6272784" cy="2825686"/>
          </a:xfrm>
        </p:spPr>
        <p:txBody>
          <a:bodyPr vert="horz" lIns="91440" tIns="45720" rIns="91440" bIns="45720" rtlCol="0">
            <a:noAutofit/>
          </a:bodyPr>
          <a:lstStyle/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Identifying niche segments - Exploring untapped markets and opportunities for growth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Adapting to current market dynamics - The importance of staying agile and responsive in a constantly changing market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Leveraging consumer insights for product innovation - Using data-driven insights to inform product development and marketing strategies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r>
              <a:rPr lang="en-US" sz="1200" dirty="0"/>
              <a:t>Expanding distribution channels and targeting new demographics - Strategies for reaching new consumers and increasing market share.</a:t>
            </a:r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  <a:p>
            <a:pPr algn="l">
              <a:spcBef>
                <a:spcPts val="600"/>
              </a:spcBef>
              <a:spcAft>
                <a:spcPts val="600"/>
              </a:spcAft>
              <a:buChar char="•"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2597478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</TotalTime>
  <Words>712</Words>
  <Application>Microsoft Macintosh PowerPoint</Application>
  <PresentationFormat>Widescreen</PresentationFormat>
  <Paragraphs>62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5" baseType="lpstr">
      <vt:lpstr>Arial</vt:lpstr>
      <vt:lpstr>Calibri</vt:lpstr>
      <vt:lpstr>Calibri Light</vt:lpstr>
      <vt:lpstr>Office Theme</vt:lpstr>
      <vt:lpstr>think-cell Slide</vt:lpstr>
      <vt:lpstr>Sports Drink and Hydration Beverage Market Analysis</vt:lpstr>
      <vt:lpstr>Introduction</vt:lpstr>
      <vt:lpstr>Market Size and Growth</vt:lpstr>
      <vt:lpstr>Key Trends and Drivers</vt:lpstr>
      <vt:lpstr>Market Segmentation</vt:lpstr>
      <vt:lpstr>Competitive Landscape</vt:lpstr>
      <vt:lpstr>Consumer Preferences and Behavior</vt:lpstr>
      <vt:lpstr>Product Innovation and Development</vt:lpstr>
      <vt:lpstr>Market Opportunities and Strategies</vt:lpstr>
      <vt:lpstr>Next Step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orts Drink and Hydration Beverage Market Analysis</dc:title>
  <dc:creator>Tom Tran</dc:creator>
  <cp:lastModifiedBy>Tom Tran</cp:lastModifiedBy>
  <cp:revision>1</cp:revision>
  <dcterms:created xsi:type="dcterms:W3CDTF">2023-03-21T03:32:24Z</dcterms:created>
  <dcterms:modified xsi:type="dcterms:W3CDTF">2023-03-21T03:46:52Z</dcterms:modified>
</cp:coreProperties>
</file>